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12"/>
  </p:notesMasterIdLst>
  <p:handoutMasterIdLst>
    <p:handoutMasterId r:id="rId13"/>
  </p:handoutMasterIdLst>
  <p:sldIdLst>
    <p:sldId id="2147471623" r:id="rId6"/>
    <p:sldId id="2147471637" r:id="rId7"/>
    <p:sldId id="2147483638" r:id="rId8"/>
    <p:sldId id="2147483637" r:id="rId9"/>
    <p:sldId id="2147483634" r:id="rId10"/>
    <p:sldId id="2147483636" r:id="rId11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gram Updates" id="{35269195-3FC2-8746-9907-2531F9FA2975}">
          <p14:sldIdLst>
            <p14:sldId id="2147471623"/>
            <p14:sldId id="2147471637"/>
            <p14:sldId id="2147483638"/>
            <p14:sldId id="2147483637"/>
            <p14:sldId id="2147483634"/>
            <p14:sldId id="21474836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81"/>
    <a:srgbClr val="009AE0"/>
    <a:srgbClr val="FFFFFF"/>
    <a:srgbClr val="FAFAFA"/>
    <a:srgbClr val="00A846"/>
    <a:srgbClr val="3DC353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ECC612-B146-0C43-9207-EA92CC4C0EB0}" v="1" dt="2024-11-04T16:11:48.1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4" autoAdjust="0"/>
    <p:restoredTop sz="94694"/>
  </p:normalViewPr>
  <p:slideViewPr>
    <p:cSldViewPr snapToGrid="0">
      <p:cViewPr varScale="1">
        <p:scale>
          <a:sx n="83" d="100"/>
          <a:sy n="83" d="100"/>
        </p:scale>
        <p:origin x="658" y="67"/>
      </p:cViewPr>
      <p:guideLst>
        <p:guide orient="horz" pos="2160"/>
        <p:guide pos="3840"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23" Type="http://schemas.microsoft.com/office/2018/10/relationships/authors" Target="author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Relationship Id="rId22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0EDBE2-88EE-224F-A42F-51EBA0C80428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674325C-CC63-CA4C-89BD-AF6128AF6D8E}">
      <dgm:prSet phldrT="[Text]" custT="1"/>
      <dgm:spPr/>
      <dgm:t>
        <a:bodyPr/>
        <a:lstStyle/>
        <a:p>
          <a:pPr algn="ctr"/>
          <a:r>
            <a:rPr lang="en-US" sz="1000" dirty="0" smtClean="0"/>
            <a:t>Validate identified Data sources linked with the dashboards</a:t>
          </a:r>
          <a:endParaRPr lang="en-US" sz="1100" dirty="0"/>
        </a:p>
      </dgm:t>
    </dgm:pt>
    <dgm:pt modelId="{F4E9CB1B-730B-064F-83E7-5B8D78196668}" type="parTrans" cxnId="{47FF049F-AEDA-BA4A-8ECE-971324E50992}">
      <dgm:prSet/>
      <dgm:spPr/>
      <dgm:t>
        <a:bodyPr/>
        <a:lstStyle/>
        <a:p>
          <a:pPr algn="ctr"/>
          <a:endParaRPr lang="en-US" sz="2000"/>
        </a:p>
      </dgm:t>
    </dgm:pt>
    <dgm:pt modelId="{E8A96DFF-C1EF-FD43-9B72-17230B5CAE92}" type="sibTrans" cxnId="{47FF049F-AEDA-BA4A-8ECE-971324E50992}">
      <dgm:prSet custT="1"/>
      <dgm:spPr/>
      <dgm:t>
        <a:bodyPr/>
        <a:lstStyle/>
        <a:p>
          <a:pPr algn="ctr"/>
          <a:endParaRPr lang="en-US" sz="900" dirty="0"/>
        </a:p>
      </dgm:t>
    </dgm:pt>
    <dgm:pt modelId="{6C8C6840-F200-7E45-B7D6-73ED3967F136}">
      <dgm:prSet phldrT="[Text]" custT="1"/>
      <dgm:spPr/>
      <dgm:t>
        <a:bodyPr/>
        <a:lstStyle/>
        <a:p>
          <a:pPr algn="ctr"/>
          <a:r>
            <a:rPr lang="en-US" sz="1000" b="0" dirty="0" smtClean="0"/>
            <a:t>Updating</a:t>
          </a:r>
          <a:r>
            <a:rPr lang="en-US" sz="1000" b="0" baseline="0" dirty="0" smtClean="0"/>
            <a:t> &amp; validating queries,</a:t>
          </a:r>
          <a:r>
            <a:rPr lang="en-US" sz="1000" b="0" dirty="0" smtClean="0"/>
            <a:t> Creation </a:t>
          </a:r>
          <a:r>
            <a:rPr lang="en-US" sz="1000" b="0" dirty="0" smtClean="0"/>
            <a:t>Of </a:t>
          </a:r>
          <a:r>
            <a:rPr lang="en-US" sz="1000" b="0" dirty="0" smtClean="0"/>
            <a:t>extracts</a:t>
          </a:r>
          <a:endParaRPr lang="en-US" sz="1000" b="0" dirty="0" smtClean="0"/>
        </a:p>
      </dgm:t>
    </dgm:pt>
    <dgm:pt modelId="{F80B3EA3-89F1-554E-8808-FC7DAF555D8D}" type="parTrans" cxnId="{C6686EF8-E73B-7240-9725-63E30A0685D2}">
      <dgm:prSet/>
      <dgm:spPr/>
      <dgm:t>
        <a:bodyPr/>
        <a:lstStyle/>
        <a:p>
          <a:pPr algn="ctr"/>
          <a:endParaRPr lang="en-US" sz="2000"/>
        </a:p>
      </dgm:t>
    </dgm:pt>
    <dgm:pt modelId="{18C336B2-6B09-9943-A629-94D26EAB4E64}" type="sibTrans" cxnId="{C6686EF8-E73B-7240-9725-63E30A0685D2}">
      <dgm:prSet custT="1"/>
      <dgm:spPr/>
      <dgm:t>
        <a:bodyPr/>
        <a:lstStyle/>
        <a:p>
          <a:pPr algn="ctr"/>
          <a:endParaRPr lang="en-US" sz="900" dirty="0"/>
        </a:p>
      </dgm:t>
    </dgm:pt>
    <dgm:pt modelId="{39B833EF-FFE4-2A41-96C3-B48EA97C9CFE}">
      <dgm:prSet phldrT="[Text]" custT="1"/>
      <dgm:spPr/>
      <dgm:t>
        <a:bodyPr/>
        <a:lstStyle/>
        <a:p>
          <a:pPr algn="ctr"/>
          <a:r>
            <a:rPr lang="en-US" sz="1050" dirty="0" smtClean="0"/>
            <a:t>Publish dashboard to  </a:t>
          </a:r>
          <a:r>
            <a:rPr lang="en-US" sz="1050" dirty="0" smtClean="0"/>
            <a:t>Dev Environment </a:t>
          </a:r>
          <a:endParaRPr lang="en-US" sz="1050" dirty="0"/>
        </a:p>
      </dgm:t>
    </dgm:pt>
    <dgm:pt modelId="{9600DAB2-88DF-F94D-BD68-0D3D35EB4571}" type="parTrans" cxnId="{F8C0AE97-603F-AF43-B18D-1B5F37F21D2D}">
      <dgm:prSet/>
      <dgm:spPr/>
      <dgm:t>
        <a:bodyPr/>
        <a:lstStyle/>
        <a:p>
          <a:pPr algn="ctr"/>
          <a:endParaRPr lang="en-US" sz="2000"/>
        </a:p>
      </dgm:t>
    </dgm:pt>
    <dgm:pt modelId="{CE480228-5A1A-3947-896B-4EC0CB0CF697}" type="sibTrans" cxnId="{F8C0AE97-603F-AF43-B18D-1B5F37F21D2D}">
      <dgm:prSet custT="1"/>
      <dgm:spPr/>
      <dgm:t>
        <a:bodyPr/>
        <a:lstStyle/>
        <a:p>
          <a:pPr algn="ctr"/>
          <a:endParaRPr lang="en-US" sz="900" dirty="0"/>
        </a:p>
      </dgm:t>
    </dgm:pt>
    <dgm:pt modelId="{BC77D762-BF97-3C4E-85C9-2FD3D1CD2393}">
      <dgm:prSet phldrT="[Text]" custT="1"/>
      <dgm:spPr/>
      <dgm:t>
        <a:bodyPr/>
        <a:lstStyle/>
        <a:p>
          <a:pPr algn="ctr"/>
          <a:r>
            <a:rPr lang="en-US" sz="1050" dirty="0" smtClean="0"/>
            <a:t>Testing</a:t>
          </a:r>
          <a:r>
            <a:rPr lang="en-US" sz="1050" baseline="0" dirty="0" smtClean="0"/>
            <a:t> &amp; validation </a:t>
          </a:r>
          <a:r>
            <a:rPr lang="en-US" sz="1050" baseline="0" dirty="0" smtClean="0"/>
            <a:t>of Tableau </a:t>
          </a:r>
          <a:r>
            <a:rPr lang="en-US" sz="1050" baseline="0" dirty="0" smtClean="0"/>
            <a:t>dashboard  views</a:t>
          </a:r>
          <a:endParaRPr lang="en-US" sz="1050" dirty="0"/>
        </a:p>
      </dgm:t>
    </dgm:pt>
    <dgm:pt modelId="{DAC75FA0-9608-E446-A570-C62C929857D4}" type="parTrans" cxnId="{DFBDA288-16C0-1040-85EE-FBDAC44A51FD}">
      <dgm:prSet/>
      <dgm:spPr/>
      <dgm:t>
        <a:bodyPr/>
        <a:lstStyle/>
        <a:p>
          <a:pPr algn="ctr"/>
          <a:endParaRPr lang="en-US" sz="2000"/>
        </a:p>
      </dgm:t>
    </dgm:pt>
    <dgm:pt modelId="{985D9493-1C8A-8C43-BE83-ED35D04D8F97}" type="sibTrans" cxnId="{DFBDA288-16C0-1040-85EE-FBDAC44A51FD}">
      <dgm:prSet/>
      <dgm:spPr/>
      <dgm:t>
        <a:bodyPr/>
        <a:lstStyle/>
        <a:p>
          <a:pPr algn="ctr"/>
          <a:endParaRPr lang="en-US" sz="2000"/>
        </a:p>
      </dgm:t>
    </dgm:pt>
    <dgm:pt modelId="{3B3DDA34-D2BB-644F-8D2B-1A6A0FCFEA0D}">
      <dgm:prSet phldrT="[Text]" custT="1"/>
      <dgm:spPr/>
      <dgm:t>
        <a:bodyPr/>
        <a:lstStyle/>
        <a:p>
          <a:pPr algn="ctr"/>
          <a:r>
            <a:rPr lang="en-US" sz="1050" dirty="0" smtClean="0"/>
            <a:t>Creating and Mapping of Calculated </a:t>
          </a:r>
          <a:r>
            <a:rPr lang="en-US" sz="1050" dirty="0" smtClean="0"/>
            <a:t>fields</a:t>
          </a:r>
          <a:endParaRPr lang="en-US" sz="1050" dirty="0" smtClean="0"/>
        </a:p>
      </dgm:t>
    </dgm:pt>
    <dgm:pt modelId="{F0667304-1577-E74F-A23D-D48464B64A93}" type="parTrans" cxnId="{77491BF2-C7BD-6C49-8FBD-C9FD2C19E6E8}">
      <dgm:prSet/>
      <dgm:spPr/>
      <dgm:t>
        <a:bodyPr/>
        <a:lstStyle/>
        <a:p>
          <a:pPr algn="ctr"/>
          <a:endParaRPr lang="en-US" sz="2000"/>
        </a:p>
      </dgm:t>
    </dgm:pt>
    <dgm:pt modelId="{1ABE6D41-26CF-0C4F-AA00-33DEB4472C50}" type="sibTrans" cxnId="{77491BF2-C7BD-6C49-8FBD-C9FD2C19E6E8}">
      <dgm:prSet custT="1"/>
      <dgm:spPr/>
      <dgm:t>
        <a:bodyPr/>
        <a:lstStyle/>
        <a:p>
          <a:pPr algn="ctr"/>
          <a:endParaRPr lang="en-US" sz="900" dirty="0"/>
        </a:p>
      </dgm:t>
    </dgm:pt>
    <dgm:pt modelId="{BAA0ACFF-BD22-4575-AEA1-AFDD8782F45B}">
      <dgm:prSet phldrT="[Text]" custT="1"/>
      <dgm:spPr/>
      <dgm:t>
        <a:bodyPr/>
        <a:lstStyle/>
        <a:p>
          <a:pPr algn="ctr"/>
          <a:r>
            <a:rPr lang="en-US" sz="1100" b="0" dirty="0" smtClean="0"/>
            <a:t>Migration to </a:t>
          </a:r>
          <a:r>
            <a:rPr lang="en-US" sz="1100" b="0" dirty="0" smtClean="0"/>
            <a:t>Production Environment </a:t>
          </a:r>
          <a:endParaRPr lang="en-US" sz="1100" b="0" dirty="0"/>
        </a:p>
      </dgm:t>
    </dgm:pt>
    <dgm:pt modelId="{68F09DA7-4A10-401D-8FB1-5FC513FEC883}" type="parTrans" cxnId="{5B6126EC-70D7-46D4-8339-F3FD1010771D}">
      <dgm:prSet/>
      <dgm:spPr/>
      <dgm:t>
        <a:bodyPr/>
        <a:lstStyle/>
        <a:p>
          <a:pPr algn="ctr"/>
          <a:endParaRPr lang="en-US"/>
        </a:p>
      </dgm:t>
    </dgm:pt>
    <dgm:pt modelId="{E5FD9A1A-2E30-4639-9A1C-D4AA4B3A985F}" type="sibTrans" cxnId="{5B6126EC-70D7-46D4-8339-F3FD1010771D}">
      <dgm:prSet/>
      <dgm:spPr/>
      <dgm:t>
        <a:bodyPr/>
        <a:lstStyle/>
        <a:p>
          <a:pPr algn="ctr"/>
          <a:endParaRPr lang="en-US"/>
        </a:p>
      </dgm:t>
    </dgm:pt>
    <dgm:pt modelId="{A722D2B6-72A0-544B-8878-A25245C1B7DC}" type="pres">
      <dgm:prSet presAssocID="{F50EDBE2-88EE-224F-A42F-51EBA0C8042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400FA3-1810-5E42-96E5-819024EA6118}" type="pres">
      <dgm:prSet presAssocID="{8674325C-CC63-CA4C-89BD-AF6128AF6D8E}" presName="node" presStyleLbl="node1" presStyleIdx="0" presStyleCnt="6" custScaleX="1114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93A15B-9728-2C42-8D9C-749F15BA89E7}" type="pres">
      <dgm:prSet presAssocID="{E8A96DFF-C1EF-FD43-9B72-17230B5CAE92}" presName="sibTrans" presStyleLbl="sibTrans2D1" presStyleIdx="0" presStyleCnt="5"/>
      <dgm:spPr/>
      <dgm:t>
        <a:bodyPr/>
        <a:lstStyle/>
        <a:p>
          <a:endParaRPr lang="en-US"/>
        </a:p>
      </dgm:t>
    </dgm:pt>
    <dgm:pt modelId="{AC054E70-951A-F641-A627-B544F6BB537F}" type="pres">
      <dgm:prSet presAssocID="{E8A96DFF-C1EF-FD43-9B72-17230B5CAE92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8BC16F30-CB08-6F4F-85A9-579EF24E5C17}" type="pres">
      <dgm:prSet presAssocID="{6C8C6840-F200-7E45-B7D6-73ED3967F136}" presName="node" presStyleLbl="node1" presStyleIdx="1" presStyleCnt="6" custScaleX="1114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CCA81C-DE5A-6B44-9683-F2C3B42F2D65}" type="pres">
      <dgm:prSet presAssocID="{18C336B2-6B09-9943-A629-94D26EAB4E64}" presName="sibTrans" presStyleLbl="sibTrans2D1" presStyleIdx="1" presStyleCnt="5"/>
      <dgm:spPr/>
      <dgm:t>
        <a:bodyPr/>
        <a:lstStyle/>
        <a:p>
          <a:endParaRPr lang="en-US"/>
        </a:p>
      </dgm:t>
    </dgm:pt>
    <dgm:pt modelId="{04577EE9-4814-054F-A911-C76979DF5FA9}" type="pres">
      <dgm:prSet presAssocID="{18C336B2-6B09-9943-A629-94D26EAB4E64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BE74BAD7-3CA5-C44E-A10E-4E84FF3C7715}" type="pres">
      <dgm:prSet presAssocID="{3B3DDA34-D2BB-644F-8D2B-1A6A0FCFEA0D}" presName="node" presStyleLbl="node1" presStyleIdx="2" presStyleCnt="6" custScaleX="111446" custLinFactNeighborX="-14211" custLinFactNeighborY="-13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F32AA4-E84C-E445-9973-81D3BC24AAD8}" type="pres">
      <dgm:prSet presAssocID="{1ABE6D41-26CF-0C4F-AA00-33DEB4472C50}" presName="sibTrans" presStyleLbl="sibTrans2D1" presStyleIdx="2" presStyleCnt="5"/>
      <dgm:spPr/>
      <dgm:t>
        <a:bodyPr/>
        <a:lstStyle/>
        <a:p>
          <a:endParaRPr lang="en-US"/>
        </a:p>
      </dgm:t>
    </dgm:pt>
    <dgm:pt modelId="{331CF784-277D-9443-896B-5CBF2AA0DD39}" type="pres">
      <dgm:prSet presAssocID="{1ABE6D41-26CF-0C4F-AA00-33DEB4472C50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AC5F37C1-CB57-E348-8E7F-3A646974FFE8}" type="pres">
      <dgm:prSet presAssocID="{39B833EF-FFE4-2A41-96C3-B48EA97C9CFE}" presName="node" presStyleLbl="node1" presStyleIdx="3" presStyleCnt="6" custScaleX="1114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7EA8FD-FF94-B642-B643-2EDE2E6F128E}" type="pres">
      <dgm:prSet presAssocID="{CE480228-5A1A-3947-896B-4EC0CB0CF697}" presName="sibTrans" presStyleLbl="sibTrans2D1" presStyleIdx="3" presStyleCnt="5"/>
      <dgm:spPr/>
      <dgm:t>
        <a:bodyPr/>
        <a:lstStyle/>
        <a:p>
          <a:endParaRPr lang="en-US"/>
        </a:p>
      </dgm:t>
    </dgm:pt>
    <dgm:pt modelId="{B9DF387F-4C32-AF4E-99E1-41582F0EAF27}" type="pres">
      <dgm:prSet presAssocID="{CE480228-5A1A-3947-896B-4EC0CB0CF697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EC3482D0-ECFF-E041-8D18-EF6E5844C9D7}" type="pres">
      <dgm:prSet presAssocID="{BC77D762-BF97-3C4E-85C9-2FD3D1CD2393}" presName="node" presStyleLbl="node1" presStyleIdx="4" presStyleCnt="6" custScaleX="1114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3E30A6-F030-4AE3-8A39-0CFB44C2000B}" type="pres">
      <dgm:prSet presAssocID="{985D9493-1C8A-8C43-BE83-ED35D04D8F97}" presName="sibTrans" presStyleLbl="sibTrans2D1" presStyleIdx="4" presStyleCnt="5"/>
      <dgm:spPr/>
      <dgm:t>
        <a:bodyPr/>
        <a:lstStyle/>
        <a:p>
          <a:endParaRPr lang="en-US"/>
        </a:p>
      </dgm:t>
    </dgm:pt>
    <dgm:pt modelId="{8918E5D8-8453-4EBD-A07A-6E9F5FEBF42A}" type="pres">
      <dgm:prSet presAssocID="{985D9493-1C8A-8C43-BE83-ED35D04D8F97}" presName="connectorText" presStyleLbl="sibTrans2D1" presStyleIdx="4" presStyleCnt="5"/>
      <dgm:spPr/>
      <dgm:t>
        <a:bodyPr/>
        <a:lstStyle/>
        <a:p>
          <a:endParaRPr lang="en-US"/>
        </a:p>
      </dgm:t>
    </dgm:pt>
    <dgm:pt modelId="{5A8FB7F3-A344-4D96-AE2F-7C6A9E8BCCE6}" type="pres">
      <dgm:prSet presAssocID="{BAA0ACFF-BD22-4575-AEA1-AFDD8782F45B}" presName="node" presStyleLbl="node1" presStyleIdx="5" presStyleCnt="6" custScaleX="1114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B1EE097-6884-4AC0-9A9A-A14C2E2487E4}" type="presOf" srcId="{BAA0ACFF-BD22-4575-AEA1-AFDD8782F45B}" destId="{5A8FB7F3-A344-4D96-AE2F-7C6A9E8BCCE6}" srcOrd="0" destOrd="0" presId="urn:microsoft.com/office/officeart/2005/8/layout/process1"/>
    <dgm:cxn modelId="{47FF049F-AEDA-BA4A-8ECE-971324E50992}" srcId="{F50EDBE2-88EE-224F-A42F-51EBA0C80428}" destId="{8674325C-CC63-CA4C-89BD-AF6128AF6D8E}" srcOrd="0" destOrd="0" parTransId="{F4E9CB1B-730B-064F-83E7-5B8D78196668}" sibTransId="{E8A96DFF-C1EF-FD43-9B72-17230B5CAE92}"/>
    <dgm:cxn modelId="{77491BF2-C7BD-6C49-8FBD-C9FD2C19E6E8}" srcId="{F50EDBE2-88EE-224F-A42F-51EBA0C80428}" destId="{3B3DDA34-D2BB-644F-8D2B-1A6A0FCFEA0D}" srcOrd="2" destOrd="0" parTransId="{F0667304-1577-E74F-A23D-D48464B64A93}" sibTransId="{1ABE6D41-26CF-0C4F-AA00-33DEB4472C50}"/>
    <dgm:cxn modelId="{F7BC337C-ED7D-5F4F-98A6-ADB1DEB4FBAA}" type="presOf" srcId="{1ABE6D41-26CF-0C4F-AA00-33DEB4472C50}" destId="{331CF784-277D-9443-896B-5CBF2AA0DD39}" srcOrd="1" destOrd="0" presId="urn:microsoft.com/office/officeart/2005/8/layout/process1"/>
    <dgm:cxn modelId="{86F9577B-A703-4FD7-968A-309856D4B371}" type="presOf" srcId="{985D9493-1C8A-8C43-BE83-ED35D04D8F97}" destId="{BB3E30A6-F030-4AE3-8A39-0CFB44C2000B}" srcOrd="0" destOrd="0" presId="urn:microsoft.com/office/officeart/2005/8/layout/process1"/>
    <dgm:cxn modelId="{2C150111-FD35-A44E-B54A-F6FF8E5B48F0}" type="presOf" srcId="{E8A96DFF-C1EF-FD43-9B72-17230B5CAE92}" destId="{7D93A15B-9728-2C42-8D9C-749F15BA89E7}" srcOrd="0" destOrd="0" presId="urn:microsoft.com/office/officeart/2005/8/layout/process1"/>
    <dgm:cxn modelId="{F8C0AE97-603F-AF43-B18D-1B5F37F21D2D}" srcId="{F50EDBE2-88EE-224F-A42F-51EBA0C80428}" destId="{39B833EF-FFE4-2A41-96C3-B48EA97C9CFE}" srcOrd="3" destOrd="0" parTransId="{9600DAB2-88DF-F94D-BD68-0D3D35EB4571}" sibTransId="{CE480228-5A1A-3947-896B-4EC0CB0CF697}"/>
    <dgm:cxn modelId="{27D930EB-36A6-1844-A570-9FDADA835C8A}" type="presOf" srcId="{1ABE6D41-26CF-0C4F-AA00-33DEB4472C50}" destId="{C3F32AA4-E84C-E445-9973-81D3BC24AAD8}" srcOrd="0" destOrd="0" presId="urn:microsoft.com/office/officeart/2005/8/layout/process1"/>
    <dgm:cxn modelId="{938CEE72-3463-DB45-9185-A865A9E9615C}" type="presOf" srcId="{3B3DDA34-D2BB-644F-8D2B-1A6A0FCFEA0D}" destId="{BE74BAD7-3CA5-C44E-A10E-4E84FF3C7715}" srcOrd="0" destOrd="0" presId="urn:microsoft.com/office/officeart/2005/8/layout/process1"/>
    <dgm:cxn modelId="{3981F388-7AB9-6D42-8E6D-36DDE2494DCB}" type="presOf" srcId="{8674325C-CC63-CA4C-89BD-AF6128AF6D8E}" destId="{1E400FA3-1810-5E42-96E5-819024EA6118}" srcOrd="0" destOrd="0" presId="urn:microsoft.com/office/officeart/2005/8/layout/process1"/>
    <dgm:cxn modelId="{B81FF5AE-5293-EF45-9859-924DB2B755F2}" type="presOf" srcId="{CE480228-5A1A-3947-896B-4EC0CB0CF697}" destId="{B9DF387F-4C32-AF4E-99E1-41582F0EAF27}" srcOrd="1" destOrd="0" presId="urn:microsoft.com/office/officeart/2005/8/layout/process1"/>
    <dgm:cxn modelId="{5074E631-8CED-4EAC-8C13-DEEE3A972938}" type="presOf" srcId="{985D9493-1C8A-8C43-BE83-ED35D04D8F97}" destId="{8918E5D8-8453-4EBD-A07A-6E9F5FEBF42A}" srcOrd="1" destOrd="0" presId="urn:microsoft.com/office/officeart/2005/8/layout/process1"/>
    <dgm:cxn modelId="{3509BC5E-0DDB-3D41-A088-8C549C5B00D6}" type="presOf" srcId="{BC77D762-BF97-3C4E-85C9-2FD3D1CD2393}" destId="{EC3482D0-ECFF-E041-8D18-EF6E5844C9D7}" srcOrd="0" destOrd="0" presId="urn:microsoft.com/office/officeart/2005/8/layout/process1"/>
    <dgm:cxn modelId="{C6686EF8-E73B-7240-9725-63E30A0685D2}" srcId="{F50EDBE2-88EE-224F-A42F-51EBA0C80428}" destId="{6C8C6840-F200-7E45-B7D6-73ED3967F136}" srcOrd="1" destOrd="0" parTransId="{F80B3EA3-89F1-554E-8808-FC7DAF555D8D}" sibTransId="{18C336B2-6B09-9943-A629-94D26EAB4E64}"/>
    <dgm:cxn modelId="{D8C606EE-92A2-6148-ACB0-A4D102C6CDFF}" type="presOf" srcId="{F50EDBE2-88EE-224F-A42F-51EBA0C80428}" destId="{A722D2B6-72A0-544B-8878-A25245C1B7DC}" srcOrd="0" destOrd="0" presId="urn:microsoft.com/office/officeart/2005/8/layout/process1"/>
    <dgm:cxn modelId="{D57901D5-63F7-DB49-9A6A-E7F763707E8C}" type="presOf" srcId="{E8A96DFF-C1EF-FD43-9B72-17230B5CAE92}" destId="{AC054E70-951A-F641-A627-B544F6BB537F}" srcOrd="1" destOrd="0" presId="urn:microsoft.com/office/officeart/2005/8/layout/process1"/>
    <dgm:cxn modelId="{51EC86FF-1435-0F4C-988E-4E88EA8E3A36}" type="presOf" srcId="{6C8C6840-F200-7E45-B7D6-73ED3967F136}" destId="{8BC16F30-CB08-6F4F-85A9-579EF24E5C17}" srcOrd="0" destOrd="0" presId="urn:microsoft.com/office/officeart/2005/8/layout/process1"/>
    <dgm:cxn modelId="{7E1A1091-00DF-9348-B293-9DC12A9AEA23}" type="presOf" srcId="{18C336B2-6B09-9943-A629-94D26EAB4E64}" destId="{04CCA81C-DE5A-6B44-9683-F2C3B42F2D65}" srcOrd="0" destOrd="0" presId="urn:microsoft.com/office/officeart/2005/8/layout/process1"/>
    <dgm:cxn modelId="{3146B13F-8A08-7D4B-B8EA-3C2B6915A188}" type="presOf" srcId="{CE480228-5A1A-3947-896B-4EC0CB0CF697}" destId="{907EA8FD-FF94-B642-B643-2EDE2E6F128E}" srcOrd="0" destOrd="0" presId="urn:microsoft.com/office/officeart/2005/8/layout/process1"/>
    <dgm:cxn modelId="{28F89FEA-6C2C-F84A-8226-AEAAC081259A}" type="presOf" srcId="{39B833EF-FFE4-2A41-96C3-B48EA97C9CFE}" destId="{AC5F37C1-CB57-E348-8E7F-3A646974FFE8}" srcOrd="0" destOrd="0" presId="urn:microsoft.com/office/officeart/2005/8/layout/process1"/>
    <dgm:cxn modelId="{EDE9FEA8-CBD5-1F46-B5A4-9A9599ABFBD0}" type="presOf" srcId="{18C336B2-6B09-9943-A629-94D26EAB4E64}" destId="{04577EE9-4814-054F-A911-C76979DF5FA9}" srcOrd="1" destOrd="0" presId="urn:microsoft.com/office/officeart/2005/8/layout/process1"/>
    <dgm:cxn modelId="{DFBDA288-16C0-1040-85EE-FBDAC44A51FD}" srcId="{F50EDBE2-88EE-224F-A42F-51EBA0C80428}" destId="{BC77D762-BF97-3C4E-85C9-2FD3D1CD2393}" srcOrd="4" destOrd="0" parTransId="{DAC75FA0-9608-E446-A570-C62C929857D4}" sibTransId="{985D9493-1C8A-8C43-BE83-ED35D04D8F97}"/>
    <dgm:cxn modelId="{5B6126EC-70D7-46D4-8339-F3FD1010771D}" srcId="{F50EDBE2-88EE-224F-A42F-51EBA0C80428}" destId="{BAA0ACFF-BD22-4575-AEA1-AFDD8782F45B}" srcOrd="5" destOrd="0" parTransId="{68F09DA7-4A10-401D-8FB1-5FC513FEC883}" sibTransId="{E5FD9A1A-2E30-4639-9A1C-D4AA4B3A985F}"/>
    <dgm:cxn modelId="{F0268A95-CFB8-FC41-90FF-DBC2949E3C04}" type="presParOf" srcId="{A722D2B6-72A0-544B-8878-A25245C1B7DC}" destId="{1E400FA3-1810-5E42-96E5-819024EA6118}" srcOrd="0" destOrd="0" presId="urn:microsoft.com/office/officeart/2005/8/layout/process1"/>
    <dgm:cxn modelId="{23104EA3-5E4A-5446-B6F8-BD6EBCB95567}" type="presParOf" srcId="{A722D2B6-72A0-544B-8878-A25245C1B7DC}" destId="{7D93A15B-9728-2C42-8D9C-749F15BA89E7}" srcOrd="1" destOrd="0" presId="urn:microsoft.com/office/officeart/2005/8/layout/process1"/>
    <dgm:cxn modelId="{2A9CB177-C30D-774E-B650-DFD6B8E72A0D}" type="presParOf" srcId="{7D93A15B-9728-2C42-8D9C-749F15BA89E7}" destId="{AC054E70-951A-F641-A627-B544F6BB537F}" srcOrd="0" destOrd="0" presId="urn:microsoft.com/office/officeart/2005/8/layout/process1"/>
    <dgm:cxn modelId="{D2CBCC34-73E7-EB45-A0A2-50337254053D}" type="presParOf" srcId="{A722D2B6-72A0-544B-8878-A25245C1B7DC}" destId="{8BC16F30-CB08-6F4F-85A9-579EF24E5C17}" srcOrd="2" destOrd="0" presId="urn:microsoft.com/office/officeart/2005/8/layout/process1"/>
    <dgm:cxn modelId="{66D84FCB-19F8-FD44-8641-20869DDD3C5C}" type="presParOf" srcId="{A722D2B6-72A0-544B-8878-A25245C1B7DC}" destId="{04CCA81C-DE5A-6B44-9683-F2C3B42F2D65}" srcOrd="3" destOrd="0" presId="urn:microsoft.com/office/officeart/2005/8/layout/process1"/>
    <dgm:cxn modelId="{0D0C7C1B-2875-EB4F-8D41-4CB86AF876E9}" type="presParOf" srcId="{04CCA81C-DE5A-6B44-9683-F2C3B42F2D65}" destId="{04577EE9-4814-054F-A911-C76979DF5FA9}" srcOrd="0" destOrd="0" presId="urn:microsoft.com/office/officeart/2005/8/layout/process1"/>
    <dgm:cxn modelId="{DCF5EC86-9FD0-5543-8877-6F3FC521D7AE}" type="presParOf" srcId="{A722D2B6-72A0-544B-8878-A25245C1B7DC}" destId="{BE74BAD7-3CA5-C44E-A10E-4E84FF3C7715}" srcOrd="4" destOrd="0" presId="urn:microsoft.com/office/officeart/2005/8/layout/process1"/>
    <dgm:cxn modelId="{A50ADE02-F3AC-164C-86D9-753568E70003}" type="presParOf" srcId="{A722D2B6-72A0-544B-8878-A25245C1B7DC}" destId="{C3F32AA4-E84C-E445-9973-81D3BC24AAD8}" srcOrd="5" destOrd="0" presId="urn:microsoft.com/office/officeart/2005/8/layout/process1"/>
    <dgm:cxn modelId="{B1922D29-181D-484A-BB7C-8962B02FFBBB}" type="presParOf" srcId="{C3F32AA4-E84C-E445-9973-81D3BC24AAD8}" destId="{331CF784-277D-9443-896B-5CBF2AA0DD39}" srcOrd="0" destOrd="0" presId="urn:microsoft.com/office/officeart/2005/8/layout/process1"/>
    <dgm:cxn modelId="{B12E72C8-3940-674A-8699-D566A6750260}" type="presParOf" srcId="{A722D2B6-72A0-544B-8878-A25245C1B7DC}" destId="{AC5F37C1-CB57-E348-8E7F-3A646974FFE8}" srcOrd="6" destOrd="0" presId="urn:microsoft.com/office/officeart/2005/8/layout/process1"/>
    <dgm:cxn modelId="{00EE1DF8-4A47-0F46-81A6-D2EC72631984}" type="presParOf" srcId="{A722D2B6-72A0-544B-8878-A25245C1B7DC}" destId="{907EA8FD-FF94-B642-B643-2EDE2E6F128E}" srcOrd="7" destOrd="0" presId="urn:microsoft.com/office/officeart/2005/8/layout/process1"/>
    <dgm:cxn modelId="{A915922C-195F-7B4F-BA49-FF5F2074697D}" type="presParOf" srcId="{907EA8FD-FF94-B642-B643-2EDE2E6F128E}" destId="{B9DF387F-4C32-AF4E-99E1-41582F0EAF27}" srcOrd="0" destOrd="0" presId="urn:microsoft.com/office/officeart/2005/8/layout/process1"/>
    <dgm:cxn modelId="{0FF73475-D5AB-3D46-A7DD-65B2BB005537}" type="presParOf" srcId="{A722D2B6-72A0-544B-8878-A25245C1B7DC}" destId="{EC3482D0-ECFF-E041-8D18-EF6E5844C9D7}" srcOrd="8" destOrd="0" presId="urn:microsoft.com/office/officeart/2005/8/layout/process1"/>
    <dgm:cxn modelId="{4DD5B907-C2D5-4CAD-8752-06AD0AA6DA3E}" type="presParOf" srcId="{A722D2B6-72A0-544B-8878-A25245C1B7DC}" destId="{BB3E30A6-F030-4AE3-8A39-0CFB44C2000B}" srcOrd="9" destOrd="0" presId="urn:microsoft.com/office/officeart/2005/8/layout/process1"/>
    <dgm:cxn modelId="{DA659AFD-70F8-4A32-BF05-0449E32816CE}" type="presParOf" srcId="{BB3E30A6-F030-4AE3-8A39-0CFB44C2000B}" destId="{8918E5D8-8453-4EBD-A07A-6E9F5FEBF42A}" srcOrd="0" destOrd="0" presId="urn:microsoft.com/office/officeart/2005/8/layout/process1"/>
    <dgm:cxn modelId="{0D110B03-ED42-4810-985A-9E198A730BA4}" type="presParOf" srcId="{A722D2B6-72A0-544B-8878-A25245C1B7DC}" destId="{5A8FB7F3-A344-4D96-AE2F-7C6A9E8BCCE6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400FA3-1810-5E42-96E5-819024EA6118}">
      <dsp:nvSpPr>
        <dsp:cNvPr id="0" name=""/>
        <dsp:cNvSpPr/>
      </dsp:nvSpPr>
      <dsp:spPr>
        <a:xfrm>
          <a:off x="260" y="32582"/>
          <a:ext cx="1423422" cy="766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Validate identified Data sources linked with the dashboards</a:t>
          </a:r>
          <a:endParaRPr lang="en-US" sz="1100" kern="1200" dirty="0"/>
        </a:p>
      </dsp:txBody>
      <dsp:txXfrm>
        <a:off x="22705" y="55027"/>
        <a:ext cx="1378532" cy="721448"/>
      </dsp:txXfrm>
    </dsp:sp>
    <dsp:sp modelId="{7D93A15B-9728-2C42-8D9C-749F15BA89E7}">
      <dsp:nvSpPr>
        <dsp:cNvPr id="0" name=""/>
        <dsp:cNvSpPr/>
      </dsp:nvSpPr>
      <dsp:spPr>
        <a:xfrm>
          <a:off x="1551406" y="257374"/>
          <a:ext cx="270772" cy="3167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1551406" y="320725"/>
        <a:ext cx="189540" cy="190051"/>
      </dsp:txXfrm>
    </dsp:sp>
    <dsp:sp modelId="{8BC16F30-CB08-6F4F-85A9-579EF24E5C17}">
      <dsp:nvSpPr>
        <dsp:cNvPr id="0" name=""/>
        <dsp:cNvSpPr/>
      </dsp:nvSpPr>
      <dsp:spPr>
        <a:xfrm>
          <a:off x="1934575" y="32582"/>
          <a:ext cx="1423422" cy="766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/>
            <a:t>Updating</a:t>
          </a:r>
          <a:r>
            <a:rPr lang="en-US" sz="1000" b="0" kern="1200" baseline="0" dirty="0" smtClean="0"/>
            <a:t> &amp; validating queries,</a:t>
          </a:r>
          <a:r>
            <a:rPr lang="en-US" sz="1000" b="0" kern="1200" dirty="0" smtClean="0"/>
            <a:t> Creation </a:t>
          </a:r>
          <a:r>
            <a:rPr lang="en-US" sz="1000" b="0" kern="1200" dirty="0" smtClean="0"/>
            <a:t>Of </a:t>
          </a:r>
          <a:r>
            <a:rPr lang="en-US" sz="1000" b="0" kern="1200" dirty="0" smtClean="0"/>
            <a:t>extracts</a:t>
          </a:r>
          <a:endParaRPr lang="en-US" sz="1000" b="0" kern="1200" dirty="0" smtClean="0"/>
        </a:p>
      </dsp:txBody>
      <dsp:txXfrm>
        <a:off x="1957020" y="55027"/>
        <a:ext cx="1378532" cy="721448"/>
      </dsp:txXfrm>
    </dsp:sp>
    <dsp:sp modelId="{04CCA81C-DE5A-6B44-9683-F2C3B42F2D65}">
      <dsp:nvSpPr>
        <dsp:cNvPr id="0" name=""/>
        <dsp:cNvSpPr/>
      </dsp:nvSpPr>
      <dsp:spPr>
        <a:xfrm rot="21581420">
          <a:off x="3467567" y="252308"/>
          <a:ext cx="232296" cy="3167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3467568" y="315847"/>
        <a:ext cx="162607" cy="190051"/>
      </dsp:txXfrm>
    </dsp:sp>
    <dsp:sp modelId="{BE74BAD7-3CA5-C44E-A10E-4E84FF3C7715}">
      <dsp:nvSpPr>
        <dsp:cNvPr id="0" name=""/>
        <dsp:cNvSpPr/>
      </dsp:nvSpPr>
      <dsp:spPr>
        <a:xfrm>
          <a:off x="3796286" y="22520"/>
          <a:ext cx="1423422" cy="766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/>
            <a:t>Creating and Mapping of Calculated </a:t>
          </a:r>
          <a:r>
            <a:rPr lang="en-US" sz="1050" kern="1200" dirty="0" smtClean="0"/>
            <a:t>fields</a:t>
          </a:r>
          <a:endParaRPr lang="en-US" sz="1050" kern="1200" dirty="0" smtClean="0"/>
        </a:p>
      </dsp:txBody>
      <dsp:txXfrm>
        <a:off x="3818731" y="44965"/>
        <a:ext cx="1378532" cy="721448"/>
      </dsp:txXfrm>
    </dsp:sp>
    <dsp:sp modelId="{C3F32AA4-E84C-E445-9973-81D3BC24AAD8}">
      <dsp:nvSpPr>
        <dsp:cNvPr id="0" name=""/>
        <dsp:cNvSpPr/>
      </dsp:nvSpPr>
      <dsp:spPr>
        <a:xfrm rot="17236">
          <a:off x="5365580" y="252387"/>
          <a:ext cx="309256" cy="3167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5365581" y="315505"/>
        <a:ext cx="216479" cy="190051"/>
      </dsp:txXfrm>
    </dsp:sp>
    <dsp:sp modelId="{AC5F37C1-CB57-E348-8E7F-3A646974FFE8}">
      <dsp:nvSpPr>
        <dsp:cNvPr id="0" name=""/>
        <dsp:cNvSpPr/>
      </dsp:nvSpPr>
      <dsp:spPr>
        <a:xfrm>
          <a:off x="5803203" y="32582"/>
          <a:ext cx="1423422" cy="766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/>
            <a:t>Publish dashboard to  </a:t>
          </a:r>
          <a:r>
            <a:rPr lang="en-US" sz="1050" kern="1200" dirty="0" smtClean="0"/>
            <a:t>Dev Environment </a:t>
          </a:r>
          <a:endParaRPr lang="en-US" sz="1050" kern="1200" dirty="0"/>
        </a:p>
      </dsp:txBody>
      <dsp:txXfrm>
        <a:off x="5825648" y="55027"/>
        <a:ext cx="1378532" cy="721448"/>
      </dsp:txXfrm>
    </dsp:sp>
    <dsp:sp modelId="{907EA8FD-FF94-B642-B643-2EDE2E6F128E}">
      <dsp:nvSpPr>
        <dsp:cNvPr id="0" name=""/>
        <dsp:cNvSpPr/>
      </dsp:nvSpPr>
      <dsp:spPr>
        <a:xfrm>
          <a:off x="7354348" y="257374"/>
          <a:ext cx="270772" cy="3167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7354348" y="320725"/>
        <a:ext cx="189540" cy="190051"/>
      </dsp:txXfrm>
    </dsp:sp>
    <dsp:sp modelId="{EC3482D0-ECFF-E041-8D18-EF6E5844C9D7}">
      <dsp:nvSpPr>
        <dsp:cNvPr id="0" name=""/>
        <dsp:cNvSpPr/>
      </dsp:nvSpPr>
      <dsp:spPr>
        <a:xfrm>
          <a:off x="7737517" y="32582"/>
          <a:ext cx="1423422" cy="766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/>
            <a:t>Testing</a:t>
          </a:r>
          <a:r>
            <a:rPr lang="en-US" sz="1050" kern="1200" baseline="0" dirty="0" smtClean="0"/>
            <a:t> &amp; validation </a:t>
          </a:r>
          <a:r>
            <a:rPr lang="en-US" sz="1050" kern="1200" baseline="0" dirty="0" smtClean="0"/>
            <a:t>of Tableau </a:t>
          </a:r>
          <a:r>
            <a:rPr lang="en-US" sz="1050" kern="1200" baseline="0" dirty="0" smtClean="0"/>
            <a:t>dashboard  views</a:t>
          </a:r>
          <a:endParaRPr lang="en-US" sz="1050" kern="1200" dirty="0"/>
        </a:p>
      </dsp:txBody>
      <dsp:txXfrm>
        <a:off x="7759962" y="55027"/>
        <a:ext cx="1378532" cy="721448"/>
      </dsp:txXfrm>
    </dsp:sp>
    <dsp:sp modelId="{BB3E30A6-F030-4AE3-8A39-0CFB44C2000B}">
      <dsp:nvSpPr>
        <dsp:cNvPr id="0" name=""/>
        <dsp:cNvSpPr/>
      </dsp:nvSpPr>
      <dsp:spPr>
        <a:xfrm>
          <a:off x="9288662" y="257374"/>
          <a:ext cx="270772" cy="3167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>
        <a:off x="9288662" y="320725"/>
        <a:ext cx="189540" cy="190051"/>
      </dsp:txXfrm>
    </dsp:sp>
    <dsp:sp modelId="{5A8FB7F3-A344-4D96-AE2F-7C6A9E8BCCE6}">
      <dsp:nvSpPr>
        <dsp:cNvPr id="0" name=""/>
        <dsp:cNvSpPr/>
      </dsp:nvSpPr>
      <dsp:spPr>
        <a:xfrm>
          <a:off x="9671831" y="32582"/>
          <a:ext cx="1423422" cy="766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0" kern="1200" dirty="0" smtClean="0"/>
            <a:t>Migration to </a:t>
          </a:r>
          <a:r>
            <a:rPr lang="en-US" sz="1100" b="0" kern="1200" dirty="0" smtClean="0"/>
            <a:t>Production Environment </a:t>
          </a:r>
          <a:endParaRPr lang="en-US" sz="1100" b="0" kern="1200" dirty="0"/>
        </a:p>
      </dsp:txBody>
      <dsp:txXfrm>
        <a:off x="9694276" y="55027"/>
        <a:ext cx="1378532" cy="7214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12/5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12/5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1473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7396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895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 dirty="0"/>
              <a:t>any masters that appear after this warning are </a:t>
            </a:r>
            <a:r>
              <a:rPr lang="en-US" sz="4267" dirty="0">
                <a:solidFill>
                  <a:srgbClr val="CD0000"/>
                </a:solidFill>
              </a:rPr>
              <a:t>rogue layouts </a:t>
            </a:r>
            <a:r>
              <a:rPr lang="en-US" sz="4267" dirty="0">
                <a:solidFill>
                  <a:srgbClr val="F9451B"/>
                </a:solidFill>
              </a:rPr>
              <a:t/>
            </a:r>
            <a:br>
              <a:rPr lang="en-US" sz="4267" dirty="0">
                <a:solidFill>
                  <a:srgbClr val="F9451B"/>
                </a:solidFill>
              </a:rPr>
            </a:br>
            <a:r>
              <a:rPr lang="en-US" sz="4267" dirty="0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dirty="0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 dirty="0"/>
              <a:t>any masters that appear after this warning are </a:t>
            </a:r>
            <a:r>
              <a:rPr lang="en-US" sz="4267" dirty="0">
                <a:solidFill>
                  <a:srgbClr val="CD0000"/>
                </a:solidFill>
              </a:rPr>
              <a:t>rogue layouts </a:t>
            </a:r>
            <a:r>
              <a:rPr lang="en-US" sz="4267" dirty="0">
                <a:solidFill>
                  <a:srgbClr val="F9451B"/>
                </a:solidFill>
              </a:rPr>
              <a:t/>
            </a:r>
            <a:br>
              <a:rPr lang="en-US" sz="4267" dirty="0">
                <a:solidFill>
                  <a:srgbClr val="F9451B"/>
                </a:solidFill>
              </a:rPr>
            </a:br>
            <a:r>
              <a:rPr lang="en-US" sz="4267" dirty="0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dirty="0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 dirty="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bi-viz.corp.cox.com/#/views/NCRs/OnlineNCRs" TargetMode="External"/><Relationship Id="rId13" Type="http://schemas.openxmlformats.org/officeDocument/2006/relationships/hyperlink" Target="https://bi-viz.corp.cox.com/#/views/NCRevenueDocument-Tables/NCRevenueTables" TargetMode="External"/><Relationship Id="rId3" Type="http://schemas.openxmlformats.org/officeDocument/2006/relationships/hyperlink" Target="https://bi-viz.corp.cox.com/#/views/ConnectsDashboard/ChannelShare" TargetMode="External"/><Relationship Id="rId7" Type="http://schemas.openxmlformats.org/officeDocument/2006/relationships/hyperlink" Target="https://bi-viz.corp.cox.com/#/views/HistoricalKPIs/Revenue" TargetMode="External"/><Relationship Id="rId12" Type="http://schemas.openxmlformats.org/officeDocument/2006/relationships/hyperlink" Target="https://bi-viz.corp.cox.com/#/views/MDUQuickConnectDashboard/NCR?:iid=5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bi-viz.corp.cox.com/#/views/DigitalPulse2_0/Summary" TargetMode="External"/><Relationship Id="rId11" Type="http://schemas.openxmlformats.org/officeDocument/2006/relationships/hyperlink" Target="https://bi-viz.corp.cox.com/#/views/SalesProjections/Summary" TargetMode="External"/><Relationship Id="rId5" Type="http://schemas.openxmlformats.org/officeDocument/2006/relationships/hyperlink" Target="https://bi-viz.corp.cox.com/#/views/DigitalDailyDigest/DailyDigest" TargetMode="External"/><Relationship Id="rId10" Type="http://schemas.openxmlformats.org/officeDocument/2006/relationships/hyperlink" Target="https://bi-viz.corp.cox.com/#/views/Revenue/OnlineRevenue" TargetMode="External"/><Relationship Id="rId4" Type="http://schemas.openxmlformats.org/officeDocument/2006/relationships/hyperlink" Target="https://bi-viz.corp.cox.com/#/views/Affordability/TECodeAudience" TargetMode="External"/><Relationship Id="rId9" Type="http://schemas.openxmlformats.org/officeDocument/2006/relationships/hyperlink" Target="https://bi-viz.corp.cox.com/#/views/OrderFunnelDashboard/OrderFunnelTrends" TargetMode="External"/><Relationship Id="rId14" Type="http://schemas.openxmlformats.org/officeDocument/2006/relationships/hyperlink" Target="https://bi-viz.corp.cox.com/#/site/CSBI/workbooks/19041/views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438" y="2466109"/>
            <a:ext cx="8315325" cy="969819"/>
          </a:xfrm>
        </p:spPr>
        <p:txBody>
          <a:bodyPr/>
          <a:lstStyle/>
          <a:p>
            <a:r>
              <a:rPr lang="en-US" dirty="0" smtClean="0"/>
              <a:t>Tableau UAT </a:t>
            </a:r>
            <a:r>
              <a:rPr lang="en-US" dirty="0"/>
              <a:t>Project Upda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438" y="4858326"/>
            <a:ext cx="5518225" cy="450791"/>
          </a:xfrm>
        </p:spPr>
        <p:txBody>
          <a:bodyPr/>
          <a:lstStyle/>
          <a:p>
            <a:r>
              <a:rPr lang="en-US" dirty="0" smtClean="0"/>
              <a:t>06</a:t>
            </a:r>
            <a:r>
              <a:rPr lang="en-US" baseline="30000" dirty="0" smtClean="0"/>
              <a:t>th</a:t>
            </a:r>
            <a:r>
              <a:rPr lang="en-US" dirty="0" smtClean="0"/>
              <a:t> December </a:t>
            </a:r>
            <a:r>
              <a:rPr lang="en-US" dirty="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12210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 smtClean="0">
                <a:latin typeface="+mj-lt"/>
                <a:cs typeface="Arial" panose="020B0604020202020204" pitchFamily="34" charset="0"/>
              </a:rPr>
              <a:t>Tableau UAT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Project Milestones 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Status – 05</a:t>
            </a:r>
            <a:r>
              <a:rPr lang="en-US" sz="2800" baseline="30000" dirty="0" smtClean="0">
                <a:latin typeface="+mj-lt"/>
                <a:cs typeface="Arial" panose="020B0604020202020204" pitchFamily="34" charset="0"/>
              </a:rPr>
              <a:t>th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December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9727" y="6423349"/>
            <a:ext cx="1471154" cy="206825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76026" y="6608074"/>
            <a:ext cx="3944940" cy="206216"/>
          </a:xfrm>
        </p:spPr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191459"/>
              </p:ext>
            </p:extLst>
          </p:nvPr>
        </p:nvGraphicFramePr>
        <p:xfrm>
          <a:off x="240782" y="2030109"/>
          <a:ext cx="11674128" cy="4159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1964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1528482">
                  <a:extLst>
                    <a:ext uri="{9D8B030D-6E8A-4147-A177-3AD203B41FA5}">
                      <a16:colId xmlns:a16="http://schemas.microsoft.com/office/drawing/2014/main" val="3791178644"/>
                    </a:ext>
                  </a:extLst>
                </a:gridCol>
                <a:gridCol w="1721845">
                  <a:extLst>
                    <a:ext uri="{9D8B030D-6E8A-4147-A177-3AD203B41FA5}">
                      <a16:colId xmlns:a16="http://schemas.microsoft.com/office/drawing/2014/main" val="1423357185"/>
                    </a:ext>
                  </a:extLst>
                </a:gridCol>
                <a:gridCol w="2101936">
                  <a:extLst>
                    <a:ext uri="{9D8B030D-6E8A-4147-A177-3AD203B41FA5}">
                      <a16:colId xmlns:a16="http://schemas.microsoft.com/office/drawing/2014/main" val="2059537306"/>
                    </a:ext>
                  </a:extLst>
                </a:gridCol>
                <a:gridCol w="2749901">
                  <a:extLst>
                    <a:ext uri="{9D8B030D-6E8A-4147-A177-3AD203B41FA5}">
                      <a16:colId xmlns:a16="http://schemas.microsoft.com/office/drawing/2014/main" val="1645571519"/>
                    </a:ext>
                  </a:extLst>
                </a:gridCol>
              </a:tblGrid>
              <a:tr h="498882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Milestones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ion/Target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rent Status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285076">
                <a:tc gridSpan="5"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shboard Validation &amp; UAT Status</a:t>
                      </a:r>
                      <a:endParaRPr lang="en-US" sz="10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463248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ource creation using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QL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DEV environment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shal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Nov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validated/feedbacks work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Tableau desktop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285076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io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racts for all the 22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sourc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shal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eryx to AWS/Athena Infra challenges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330233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io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0+ calculated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elds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hena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shal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source format discrepancies.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301520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witch tableau dashboard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update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WS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shal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umes of data and processing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790582"/>
                  </a:ext>
                </a:extLst>
              </a:tr>
              <a:tr h="285076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ing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hedules for extracts on dev server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shal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Dec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of data into the tabl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669221"/>
                  </a:ext>
                </a:extLst>
              </a:tr>
              <a:tr h="285076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and Validating Views in dashboards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shal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Dec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gres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op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firm source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95265"/>
                  </a:ext>
                </a:extLst>
              </a:tr>
              <a:tr h="285076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r acceptance testing (UAT)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shala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es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head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al from Zac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347727"/>
                  </a:ext>
                </a:extLst>
              </a:tr>
              <a:tr h="285076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formance testing (speed, data load).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shal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formance issues with new data loads.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503717"/>
                  </a:ext>
                </a:extLst>
              </a:tr>
              <a:tr h="285076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ok And feel Changes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ll be agreed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 Dashboards 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s Compatibility of 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isting 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shboard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07330"/>
                  </a:ext>
                </a:extLst>
              </a:tr>
              <a:tr h="285076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gration To prod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-Harshal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gnment with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Cox Team (Zach)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45726"/>
                  </a:ext>
                </a:extLst>
              </a:tr>
              <a:tr h="285076">
                <a:tc>
                  <a:txBody>
                    <a:bodyPr/>
                    <a:lstStyle/>
                    <a:p>
                      <a:pPr marL="0" algn="l" defTabSz="457189" rtl="0" eaLnBrk="1" fontAlgn="ctr" latinLnBrk="0" hangingPunct="1"/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CB 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gital Pulse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-Harshal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op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esh to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erate data in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164795"/>
                  </a:ext>
                </a:extLst>
              </a:tr>
            </a:tbl>
          </a:graphicData>
        </a:graphic>
      </p:graphicFrame>
      <p:sp>
        <p:nvSpPr>
          <p:cNvPr id="66" name="Flowchart: Connector 65"/>
          <p:cNvSpPr/>
          <p:nvPr/>
        </p:nvSpPr>
        <p:spPr>
          <a:xfrm>
            <a:off x="10083567" y="121990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1099566" y="131226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CC6679B6-D679-9FF0-7A95-D2A29E24CD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4794363"/>
              </p:ext>
            </p:extLst>
          </p:nvPr>
        </p:nvGraphicFramePr>
        <p:xfrm>
          <a:off x="586467" y="736771"/>
          <a:ext cx="11095515" cy="831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FA280F3-21B8-0D16-AF7C-5EB5BAE2E006}"/>
              </a:ext>
            </a:extLst>
          </p:cNvPr>
          <p:cNvCxnSpPr>
            <a:cxnSpLocks/>
          </p:cNvCxnSpPr>
          <p:nvPr/>
        </p:nvCxnSpPr>
        <p:spPr>
          <a:xfrm>
            <a:off x="586468" y="1908309"/>
            <a:ext cx="107882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B806BED7-3331-1FCD-AEA1-528D85E84368}"/>
              </a:ext>
            </a:extLst>
          </p:cNvPr>
          <p:cNvSpPr/>
          <p:nvPr/>
        </p:nvSpPr>
        <p:spPr>
          <a:xfrm>
            <a:off x="1215057" y="1844301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44AD573-0A83-6DDE-E196-F04BABB8268F}"/>
              </a:ext>
            </a:extLst>
          </p:cNvPr>
          <p:cNvSpPr txBox="1"/>
          <p:nvPr/>
        </p:nvSpPr>
        <p:spPr>
          <a:xfrm>
            <a:off x="1018455" y="1589810"/>
            <a:ext cx="7889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09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 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ECA5A89-A1CC-3CD0-3A16-02BC751CF777}"/>
              </a:ext>
            </a:extLst>
          </p:cNvPr>
          <p:cNvSpPr/>
          <p:nvPr/>
        </p:nvSpPr>
        <p:spPr>
          <a:xfrm>
            <a:off x="3096807" y="1844301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8A955-3415-10AA-BC13-1CEDDD58E33D}"/>
              </a:ext>
            </a:extLst>
          </p:cNvPr>
          <p:cNvSpPr txBox="1"/>
          <p:nvPr/>
        </p:nvSpPr>
        <p:spPr>
          <a:xfrm>
            <a:off x="2814186" y="1595314"/>
            <a:ext cx="7569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6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E6B0DC2-DA8D-B8EF-9BCF-F91FFFAACD6D}"/>
              </a:ext>
            </a:extLst>
          </p:cNvPr>
          <p:cNvSpPr/>
          <p:nvPr/>
        </p:nvSpPr>
        <p:spPr>
          <a:xfrm>
            <a:off x="4978555" y="1844301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DD5EA62-C06E-63D1-6087-47ED2E12EAD5}"/>
              </a:ext>
            </a:extLst>
          </p:cNvPr>
          <p:cNvSpPr txBox="1"/>
          <p:nvPr/>
        </p:nvSpPr>
        <p:spPr>
          <a:xfrm>
            <a:off x="4747913" y="1589810"/>
            <a:ext cx="68961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20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54DC06E-8B4C-92A8-A34A-1F62CB158312}"/>
              </a:ext>
            </a:extLst>
          </p:cNvPr>
          <p:cNvSpPr/>
          <p:nvPr/>
        </p:nvSpPr>
        <p:spPr>
          <a:xfrm>
            <a:off x="7024103" y="1844301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5363342-108F-ED2E-7A5C-A7F7E03D4AA8}"/>
              </a:ext>
            </a:extLst>
          </p:cNvPr>
          <p:cNvSpPr txBox="1"/>
          <p:nvPr/>
        </p:nvSpPr>
        <p:spPr>
          <a:xfrm>
            <a:off x="6850020" y="1570069"/>
            <a:ext cx="6190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2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D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8F39EDB-B3D1-6DDD-1132-5592EDD44E71}"/>
              </a:ext>
            </a:extLst>
          </p:cNvPr>
          <p:cNvSpPr/>
          <p:nvPr/>
        </p:nvSpPr>
        <p:spPr>
          <a:xfrm>
            <a:off x="10865717" y="1844301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E52A43-55FC-4CD6-66C7-36BA2A21605E}"/>
              </a:ext>
            </a:extLst>
          </p:cNvPr>
          <p:cNvSpPr txBox="1"/>
          <p:nvPr/>
        </p:nvSpPr>
        <p:spPr>
          <a:xfrm>
            <a:off x="10722777" y="1589810"/>
            <a:ext cx="4138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BD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FAAE7A1-5331-9FA0-D8AB-B3668ED6CF8B}"/>
              </a:ext>
            </a:extLst>
          </p:cNvPr>
          <p:cNvSpPr/>
          <p:nvPr/>
        </p:nvSpPr>
        <p:spPr>
          <a:xfrm>
            <a:off x="3094519" y="1844301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FAAE7A1-5331-9FA0-D8AB-B3668ED6CF8B}"/>
              </a:ext>
            </a:extLst>
          </p:cNvPr>
          <p:cNvSpPr/>
          <p:nvPr/>
        </p:nvSpPr>
        <p:spPr>
          <a:xfrm>
            <a:off x="4976869" y="1844301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FAAE7A1-5331-9FA0-D8AB-B3668ED6CF8B}"/>
              </a:ext>
            </a:extLst>
          </p:cNvPr>
          <p:cNvSpPr/>
          <p:nvPr/>
        </p:nvSpPr>
        <p:spPr>
          <a:xfrm>
            <a:off x="7022417" y="1849086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54DC06E-8B4C-92A8-A34A-1F62CB158312}"/>
              </a:ext>
            </a:extLst>
          </p:cNvPr>
          <p:cNvSpPr/>
          <p:nvPr/>
        </p:nvSpPr>
        <p:spPr>
          <a:xfrm>
            <a:off x="8972688" y="1842506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5363342-108F-ED2E-7A5C-A7F7E03D4AA8}"/>
              </a:ext>
            </a:extLst>
          </p:cNvPr>
          <p:cNvSpPr txBox="1"/>
          <p:nvPr/>
        </p:nvSpPr>
        <p:spPr>
          <a:xfrm>
            <a:off x="8798605" y="1568274"/>
            <a:ext cx="6046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6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239199" y="84390"/>
            <a:ext cx="8074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edium Risk</a:t>
            </a:r>
            <a:endParaRPr lang="en-US" sz="9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1289600" y="84390"/>
            <a:ext cx="88638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eets the Plan</a:t>
            </a:r>
            <a:endParaRPr lang="en-US" sz="9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37" name="Flowchart: Connector 36"/>
          <p:cNvSpPr/>
          <p:nvPr/>
        </p:nvSpPr>
        <p:spPr>
          <a:xfrm>
            <a:off x="8972688" y="1833362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0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 smtClean="0">
                <a:latin typeface="+mj-lt"/>
                <a:cs typeface="Arial" panose="020B0604020202020204" pitchFamily="34" charset="0"/>
              </a:rPr>
              <a:t>Data Dependencies and Identified Issues Status – 05</a:t>
            </a:r>
            <a:r>
              <a:rPr lang="en-US" sz="2800" baseline="30000" dirty="0" smtClean="0">
                <a:latin typeface="+mj-lt"/>
                <a:cs typeface="Arial" panose="020B0604020202020204" pitchFamily="34" charset="0"/>
              </a:rPr>
              <a:t>th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December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9727" y="6423349"/>
            <a:ext cx="1471154" cy="206825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76026" y="6608074"/>
            <a:ext cx="3944940" cy="206216"/>
          </a:xfrm>
        </p:spPr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185035"/>
              </p:ext>
            </p:extLst>
          </p:nvPr>
        </p:nvGraphicFramePr>
        <p:xfrm>
          <a:off x="216623" y="781497"/>
          <a:ext cx="11716759" cy="5296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85008">
                  <a:extLst>
                    <a:ext uri="{9D8B030D-6E8A-4147-A177-3AD203B41FA5}">
                      <a16:colId xmlns:a16="http://schemas.microsoft.com/office/drawing/2014/main" val="888756617"/>
                    </a:ext>
                  </a:extLst>
                </a:gridCol>
                <a:gridCol w="1534064">
                  <a:extLst>
                    <a:ext uri="{9D8B030D-6E8A-4147-A177-3AD203B41FA5}">
                      <a16:colId xmlns:a16="http://schemas.microsoft.com/office/drawing/2014/main" val="837907191"/>
                    </a:ext>
                  </a:extLst>
                </a:gridCol>
                <a:gridCol w="1487857">
                  <a:extLst>
                    <a:ext uri="{9D8B030D-6E8A-4147-A177-3AD203B41FA5}">
                      <a16:colId xmlns:a16="http://schemas.microsoft.com/office/drawing/2014/main" val="3449266110"/>
                    </a:ext>
                  </a:extLst>
                </a:gridCol>
                <a:gridCol w="240276">
                  <a:extLst>
                    <a:ext uri="{9D8B030D-6E8A-4147-A177-3AD203B41FA5}">
                      <a16:colId xmlns:a16="http://schemas.microsoft.com/office/drawing/2014/main" val="3187878613"/>
                    </a:ext>
                  </a:extLst>
                </a:gridCol>
                <a:gridCol w="2109611">
                  <a:extLst>
                    <a:ext uri="{9D8B030D-6E8A-4147-A177-3AD203B41FA5}">
                      <a16:colId xmlns:a16="http://schemas.microsoft.com/office/drawing/2014/main" val="972674376"/>
                    </a:ext>
                  </a:extLst>
                </a:gridCol>
                <a:gridCol w="2759943">
                  <a:extLst>
                    <a:ext uri="{9D8B030D-6E8A-4147-A177-3AD203B41FA5}">
                      <a16:colId xmlns:a16="http://schemas.microsoft.com/office/drawing/2014/main" val="998021943"/>
                    </a:ext>
                  </a:extLst>
                </a:gridCol>
              </a:tblGrid>
              <a:tr h="526314">
                <a:tc gridSpan="6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Sources </a:t>
                      </a:r>
                      <a:r>
                        <a:rPr lang="en-US" sz="10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ues Identified</a:t>
                      </a:r>
                      <a:r>
                        <a:rPr lang="en-US" sz="1000" b="1" baseline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tatus</a:t>
                      </a:r>
                      <a:endParaRPr lang="en-US" sz="10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187193"/>
                  </a:ext>
                </a:extLst>
              </a:tr>
              <a:tr h="52631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low creation in Alteryx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= 56 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confirmed by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26844"/>
                  </a:ext>
                </a:extLst>
              </a:tr>
              <a:tr h="52631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 tables in Athen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umes of data and processing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869571"/>
                  </a:ext>
                </a:extLst>
              </a:tr>
              <a:tr h="1184205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ssue with DS order funnel</a:t>
                      </a: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 fore cast,</a:t>
                      </a: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 Alerts,</a:t>
                      </a:r>
                      <a:r>
                        <a:rPr 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 ,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ces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confirmed by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6006"/>
                  </a:ext>
                </a:extLst>
              </a:tr>
              <a:tr h="52631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 Chat Sessions (Marketing, </a:t>
                      </a:r>
                      <a:r>
                        <a:rPr 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S CB </a:t>
                      </a:r>
                      <a:r>
                        <a:rPr lang="en-US" sz="9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ktg</a:t>
                      </a:r>
                      <a:r>
                        <a:rPr 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hannel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Star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confirmed by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641520"/>
                  </a:ext>
                </a:extLst>
              </a:tr>
              <a:tr h="1151311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 Marketing Source - call </a:t>
                      </a:r>
                      <a:r>
                        <a:rPr lang="en-US" sz="10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r</a:t>
                      </a:r>
                      <a:r>
                        <a:rPr lang="en-US" sz="10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S CB Campaigns, SFO - Sales Order Details</a:t>
                      </a:r>
                      <a:endParaRPr lang="en-US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Start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confirmed by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146431"/>
                  </a:ext>
                </a:extLst>
              </a:tr>
              <a:tr h="855260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Force</a:t>
                      </a:r>
                      <a:r>
                        <a:rPr 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eads, DS CB </a:t>
                      </a:r>
                      <a:r>
                        <a:rPr lang="en-US" sz="9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yflow</a:t>
                      </a:r>
                      <a:r>
                        <a:rPr lang="en-US" sz="9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DS CB Page Type | Project : </a:t>
                      </a:r>
                      <a:r>
                        <a:rPr lang="en-US" sz="9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l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Start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confirmed by Anoop/Sure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9212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05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2800" dirty="0" smtClean="0">
                <a:latin typeface="+mj-lt"/>
                <a:cs typeface="Arial" panose="020B0604020202020204" pitchFamily="34" charset="0"/>
              </a:rPr>
              <a:t>UAT 12 Dashboard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Status 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December 5,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734594"/>
            <a:ext cx="777240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Tasks</a:t>
            </a:r>
            <a:endParaRPr lang="en-US" sz="11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9306973"/>
              </p:ext>
            </p:extLst>
          </p:nvPr>
        </p:nvGraphicFramePr>
        <p:xfrm>
          <a:off x="9910618" y="-6"/>
          <a:ext cx="2281383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727">
                  <a:extLst>
                    <a:ext uri="{9D8B030D-6E8A-4147-A177-3AD203B41FA5}">
                      <a16:colId xmlns:a16="http://schemas.microsoft.com/office/drawing/2014/main" val="2257054818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1541583"/>
                    </a:ext>
                  </a:extLst>
                </a:gridCol>
                <a:gridCol w="480292">
                  <a:extLst>
                    <a:ext uri="{9D8B030D-6E8A-4147-A177-3AD203B41FA5}">
                      <a16:colId xmlns:a16="http://schemas.microsoft.com/office/drawing/2014/main" val="521123419"/>
                    </a:ext>
                  </a:extLst>
                </a:gridCol>
              </a:tblGrid>
              <a:tr h="138546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78357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162980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70563"/>
                  </a:ext>
                </a:extLst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2761667"/>
              </p:ext>
            </p:extLst>
          </p:nvPr>
        </p:nvGraphicFramePr>
        <p:xfrm>
          <a:off x="7982006" y="1373692"/>
          <a:ext cx="4119418" cy="134019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119418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24986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090330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n-US" sz="1200" b="1" dirty="0" smtClean="0"/>
                        <a:t>Digital Daily Digest Dashboard</a:t>
                      </a:r>
                      <a:r>
                        <a:rPr lang="en-US" sz="1200" b="1" baseline="0" dirty="0" smtClean="0"/>
                        <a:t> Views:</a:t>
                      </a:r>
                      <a:endParaRPr lang="en-US" sz="1200" b="1" dirty="0" smtClean="0"/>
                    </a:p>
                    <a:p>
                      <a:pPr marL="228600" indent="-228600">
                        <a:buAutoNum type="arabicPeriod"/>
                      </a:pP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28" name="Rectangle 27"/>
          <p:cNvSpPr/>
          <p:nvPr/>
        </p:nvSpPr>
        <p:spPr bwMode="auto">
          <a:xfrm>
            <a:off x="7982006" y="1319186"/>
            <a:ext cx="4119418" cy="365955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week Dashboard View Testing</a:t>
            </a:r>
            <a:endParaRPr lang="en-US" sz="11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4721034"/>
              </p:ext>
            </p:extLst>
          </p:nvPr>
        </p:nvGraphicFramePr>
        <p:xfrm>
          <a:off x="339351" y="1063257"/>
          <a:ext cx="7430818" cy="54896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19084">
                  <a:extLst>
                    <a:ext uri="{9D8B030D-6E8A-4147-A177-3AD203B41FA5}">
                      <a16:colId xmlns:a16="http://schemas.microsoft.com/office/drawing/2014/main" val="657942195"/>
                    </a:ext>
                  </a:extLst>
                </a:gridCol>
                <a:gridCol w="504871">
                  <a:extLst>
                    <a:ext uri="{9D8B030D-6E8A-4147-A177-3AD203B41FA5}">
                      <a16:colId xmlns:a16="http://schemas.microsoft.com/office/drawing/2014/main" val="4245999222"/>
                    </a:ext>
                  </a:extLst>
                </a:gridCol>
                <a:gridCol w="3189311">
                  <a:extLst>
                    <a:ext uri="{9D8B030D-6E8A-4147-A177-3AD203B41FA5}">
                      <a16:colId xmlns:a16="http://schemas.microsoft.com/office/drawing/2014/main" val="2357940194"/>
                    </a:ext>
                  </a:extLst>
                </a:gridCol>
                <a:gridCol w="679388">
                  <a:extLst>
                    <a:ext uri="{9D8B030D-6E8A-4147-A177-3AD203B41FA5}">
                      <a16:colId xmlns:a16="http://schemas.microsoft.com/office/drawing/2014/main" val="2671383649"/>
                    </a:ext>
                  </a:extLst>
                </a:gridCol>
                <a:gridCol w="679388">
                  <a:extLst>
                    <a:ext uri="{9D8B030D-6E8A-4147-A177-3AD203B41FA5}">
                      <a16:colId xmlns:a16="http://schemas.microsoft.com/office/drawing/2014/main" val="1907885853"/>
                    </a:ext>
                  </a:extLst>
                </a:gridCol>
                <a:gridCol w="679388">
                  <a:extLst>
                    <a:ext uri="{9D8B030D-6E8A-4147-A177-3AD203B41FA5}">
                      <a16:colId xmlns:a16="http://schemas.microsoft.com/office/drawing/2014/main" val="3163838536"/>
                    </a:ext>
                  </a:extLst>
                </a:gridCol>
                <a:gridCol w="679388">
                  <a:extLst>
                    <a:ext uri="{9D8B030D-6E8A-4147-A177-3AD203B41FA5}">
                      <a16:colId xmlns:a16="http://schemas.microsoft.com/office/drawing/2014/main" val="693185827"/>
                    </a:ext>
                  </a:extLst>
                </a:gridCol>
              </a:tblGrid>
              <a:tr h="136794"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effectLst/>
                        </a:rPr>
                        <a:t>Data sources on Deve server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 smtClean="0">
                          <a:effectLst/>
                        </a:rPr>
                        <a:t>Updated Calculated </a:t>
                      </a:r>
                      <a:r>
                        <a:rPr lang="en-US" sz="900" b="1" u="none" strike="noStrike" dirty="0">
                          <a:effectLst/>
                        </a:rPr>
                        <a:t>fields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effectLst/>
                        </a:rPr>
                        <a:t>Validation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61231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.     DS Affordability Leads 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</a:rPr>
                        <a:t>21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511588006"/>
                  </a:ext>
                </a:extLst>
              </a:tr>
              <a:tr h="192222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2.       DS Affordability Offer Device Typ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</a:rPr>
                        <a:t>16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4171360861"/>
                  </a:ext>
                </a:extLst>
              </a:tr>
              <a:tr h="192222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3.       DS Affordability Orders Lead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</a:rPr>
                        <a:t>34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676519569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4.     DS Affordability Page Driver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</a:rPr>
                        <a:t>14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3635258808"/>
                  </a:ext>
                </a:extLst>
              </a:tr>
              <a:tr h="4750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5.     DS Buying Cycle 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</a:rPr>
                        <a:t>26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2717336867"/>
                  </a:ext>
                </a:extLst>
              </a:tr>
              <a:tr h="4131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6.     DS Connect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62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987266140"/>
                  </a:ext>
                </a:extLst>
              </a:tr>
              <a:tr h="3513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7.     DS Forecast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24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1672038320"/>
                  </a:ext>
                </a:extLst>
              </a:tr>
              <a:tr h="3513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8.     DS Target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3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36950075"/>
                  </a:ext>
                </a:extLst>
              </a:tr>
              <a:tr h="5368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9.     DS Revenue Daily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9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2756323499"/>
                  </a:ext>
                </a:extLst>
              </a:tr>
              <a:tr h="53689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0.  DS Mktg Channels 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4203199605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1.  DS All Buying Cycles 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26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2667786175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2.  DS Offer by Quality Typ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2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1459805876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3.  DS Page Type by Quality Typ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9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1886288700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4       DS Revenue Detail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44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1038941853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5    DS Non Customer Cycle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1467782340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6     DS Flow by Quality Typ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15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2673028151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7    DS DMAS Scorecard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2479177715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8   DS Revenu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44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2934435271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19   DS Sellin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1283764200"/>
                  </a:ext>
                </a:extLst>
              </a:tr>
              <a:tr h="136794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20    DS Order Funnel Daily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2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3019720473"/>
                  </a:ext>
                </a:extLst>
              </a:tr>
              <a:tr h="136986"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sz="900" b="1" u="none" strike="noStrike">
                          <a:effectLst/>
                        </a:rPr>
                        <a:t>21     DS Order Funne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52" marR="2129" marT="2129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8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952364801"/>
                  </a:ext>
                </a:extLst>
              </a:tr>
              <a:tr h="351304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900" b="1" u="none" strike="noStrike">
                          <a:effectLst/>
                        </a:rPr>
                        <a:t>             22 Goals (2023 MDU Scorecard Metrics)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1945338202"/>
                  </a:ext>
                </a:extLst>
              </a:tr>
              <a:tr h="136794">
                <a:tc gridSpan="2"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</a:rPr>
                        <a:t>23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DS Alerts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34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29" marR="2129" marT="2129" marB="0" anchor="b"/>
                </a:tc>
                <a:extLst>
                  <a:ext uri="{0D108BD9-81ED-4DB2-BD59-A6C34878D82A}">
                    <a16:rowId xmlns:a16="http://schemas.microsoft.com/office/drawing/2014/main" val="1974460483"/>
                  </a:ext>
                </a:extLst>
              </a:tr>
            </a:tbl>
          </a:graphicData>
        </a:graphic>
      </p:graphicFrame>
      <p:sp>
        <p:nvSpPr>
          <p:cNvPr id="32" name="Rectangle 31"/>
          <p:cNvSpPr/>
          <p:nvPr/>
        </p:nvSpPr>
        <p:spPr bwMode="auto">
          <a:xfrm>
            <a:off x="7982006" y="2135555"/>
            <a:ext cx="4119418" cy="365955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shboards</a:t>
            </a:r>
            <a:endParaRPr lang="en-US" sz="11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920545" y="2501510"/>
            <a:ext cx="4392381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3" tooltip="https://bi-viz.corp.cox.com/#/views/ConnectsDashboard/ChannelShare"/>
              </a:rPr>
              <a:t>https://bi-viz.corp.cox.com/#/views/ConnectsDashboard/ChannelShare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4" tooltip="https://bi-viz.corp.cox.com/#/views/Affordability/TECodeAudience"/>
              </a:rPr>
              <a:t>https://bi-viz.corp.cox.com/#/views/Affordability/TECodeAudience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5" tooltip="https://bi-viz.corp.cox.com/#/views/DigitalDailyDigest/DailyDigest"/>
              </a:rPr>
              <a:t>https://bi-viz.corp.cox.com/#/views/DigitalDailyDigest/DailyDigest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6" tooltip="https://bi-viz.corp.cox.com/#/views/DigitalPulse2_0/Summary"/>
              </a:rPr>
              <a:t>https://bi-viz.corp.cox.com/#/views/DigitalPulse2_0/Summary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7" tooltip="https://bi-viz.corp.cox.com/#/views/HistoricalKPIs/Revenue"/>
              </a:rPr>
              <a:t>https://bi-viz.corp.cox.com/#/views/HistoricalKPIs/Revenue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8" tooltip="https://bi-viz.corp.cox.com/#/views/NCRs/OnlineNCRs"/>
              </a:rPr>
              <a:t>https://bi-viz.corp.cox.com/#/views/NCRs/OnlineNCRs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9" tooltip="https://bi-viz.corp.cox.com/#/views/OrderFunnelDashboard/OrderFunnelTrends"/>
              </a:rPr>
              <a:t>https://bi-viz.corp.cox.com/#/views/OrderFunnelDashboard/OrderFunnelTrends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10" tooltip="https://bi-viz.corp.cox.com/#/views/Revenue/OnlineRevenue"/>
              </a:rPr>
              <a:t>https://bi-viz.corp.cox.com/#/views/Revenue/OnlineRevenue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11" tooltip="https://bi-viz.corp.cox.com/#/views/SalesProjections/Summary"/>
              </a:rPr>
              <a:t>https://bi-viz.corp.cox.com/#/views/SalesProjections/Summary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12" tooltip="https://bi-viz.corp.cox.com/#/views/MDUQuickConnectDashboard/NCR?:iid=5"/>
              </a:rPr>
              <a:t>https://bi-viz.corp.cox.com/#/views/MDUQuickConnectDashboard/NCR?:iid=5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u="sng" dirty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13" tooltip="https://bi-viz.corp.cox.com/#/views/NCRevenueDocument-Tables/NCRevenueTables"/>
              </a:rPr>
              <a:t>https://bi-viz.corp.cox.com/#/</a:t>
            </a:r>
            <a:r>
              <a:rPr lang="en-US" sz="1100" u="sng" dirty="0" smtClean="0">
                <a:solidFill>
                  <a:srgbClr val="0563C1"/>
                </a:solidFill>
                <a:latin typeface="Aptos"/>
                <a:ea typeface="Times New Roman" panose="02020603050405020304" pitchFamily="18" charset="0"/>
                <a:hlinkClick r:id="rId13" tooltip="https://bi-viz.corp.cox.com/#/views/NCRevenueDocument-Tables/NCRevenueTables"/>
              </a:rPr>
              <a:t>views/NCRevenueDocument-Tables/NCRevenueTables</a:t>
            </a:r>
            <a:endParaRPr lang="en-US" sz="1100" u="sng" dirty="0" smtClean="0">
              <a:solidFill>
                <a:srgbClr val="0563C1"/>
              </a:solidFill>
              <a:latin typeface="Aptos"/>
              <a:ea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dirty="0">
                <a:hlinkClick r:id="rId14" tooltip="https://bi-viz.corp.cox.com/#/site/csbi/workbooks/19041/views"/>
              </a:rPr>
              <a:t>https://bi-viz.corp.cox.com/#/site/CSBI/workbooks/19041/views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410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2800" dirty="0">
                <a:cs typeface="Arial" panose="020B0604020202020204" pitchFamily="34" charset="0"/>
              </a:rPr>
              <a:t>Tableau UAT </a:t>
            </a:r>
            <a:r>
              <a:rPr lang="en-US" sz="2800" dirty="0" smtClean="0">
                <a:cs typeface="Arial" panose="020B0604020202020204" pitchFamily="34" charset="0"/>
              </a:rPr>
              <a:t>Project Status</a:t>
            </a:r>
            <a:endParaRPr lang="en-US" sz="28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734594"/>
            <a:ext cx="777240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Key Headlin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6242" y="4421688"/>
            <a:ext cx="7753927" cy="276162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&amp; Issu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1294" y="999321"/>
            <a:ext cx="77701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Testing Checklist</a:t>
            </a:r>
          </a:p>
          <a:p>
            <a:r>
              <a:rPr lang="en-US" sz="1050" b="1" dirty="0"/>
              <a:t>Data Accuracy</a:t>
            </a:r>
            <a:r>
              <a:rPr lang="en-US" sz="1050" dirty="0"/>
              <a:t>: Ensure data from the new source is accurate and consistent.</a:t>
            </a:r>
          </a:p>
          <a:p>
            <a:r>
              <a:rPr lang="en-US" sz="1050" b="1" dirty="0"/>
              <a:t>Performance</a:t>
            </a:r>
            <a:r>
              <a:rPr lang="en-US" sz="1050" dirty="0"/>
              <a:t>: Test dashboard load times with the new data.</a:t>
            </a:r>
          </a:p>
          <a:p>
            <a:r>
              <a:rPr lang="en-US" sz="1050" b="1" dirty="0"/>
              <a:t>Error Handling</a:t>
            </a:r>
            <a:r>
              <a:rPr lang="en-US" sz="1050" dirty="0"/>
              <a:t>: Check for error messages, broken links, or missed data points.</a:t>
            </a:r>
          </a:p>
          <a:p>
            <a:r>
              <a:rPr lang="en-US" sz="1050" b="1" dirty="0"/>
              <a:t>Functionality</a:t>
            </a:r>
            <a:r>
              <a:rPr lang="en-US" sz="1050" dirty="0"/>
              <a:t>: Ensure that all dashboard features are working as expected.</a:t>
            </a:r>
          </a:p>
        </p:txBody>
      </p:sp>
      <p:sp>
        <p:nvSpPr>
          <p:cNvPr id="65" name="Flowchart: Connector 64"/>
          <p:cNvSpPr/>
          <p:nvPr/>
        </p:nvSpPr>
        <p:spPr>
          <a:xfrm>
            <a:off x="9210273" y="406474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/>
          <p:cNvSpPr/>
          <p:nvPr/>
        </p:nvSpPr>
        <p:spPr>
          <a:xfrm>
            <a:off x="9394764" y="102741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9453" y="10201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8245027"/>
              </p:ext>
            </p:extLst>
          </p:nvPr>
        </p:nvGraphicFramePr>
        <p:xfrm>
          <a:off x="7972407" y="1212019"/>
          <a:ext cx="4119418" cy="48691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119418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249868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Obj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090330">
                <a:tc>
                  <a:txBody>
                    <a:bodyPr/>
                    <a:lstStyle/>
                    <a:p>
                      <a:endParaRPr lang="en-US" sz="1100" b="1" dirty="0" smtClean="0"/>
                    </a:p>
                    <a:p>
                      <a:r>
                        <a:rPr lang="en-US" sz="1100" dirty="0" smtClean="0"/>
                        <a:t>The primary objective is to integrate a new data source into the existing ecosystem of 12 dashboards, ensuring seamless data flow and functionality across all dashboards. This process includes:</a:t>
                      </a:r>
                    </a:p>
                    <a:p>
                      <a:r>
                        <a:rPr lang="en-US" sz="1100" b="1" dirty="0" smtClean="0"/>
                        <a:t>Testing</a:t>
                      </a:r>
                      <a:r>
                        <a:rPr lang="en-US" sz="1100" dirty="0" smtClean="0"/>
                        <a:t>: Thoroughly testing the dashboards to validate data accuracy, performance, and overall system integration with the new data source.</a:t>
                      </a:r>
                    </a:p>
                    <a:p>
                      <a:r>
                        <a:rPr lang="en-US" sz="1100" b="1" dirty="0" smtClean="0"/>
                        <a:t>Dev Environment Integration</a:t>
                      </a:r>
                      <a:r>
                        <a:rPr lang="en-US" sz="1100" dirty="0" smtClean="0"/>
                        <a:t>: Switching all relevant dashboards to the development environment to ensure that the new data source integrates properly, without affecting the current system or performance.</a:t>
                      </a:r>
                    </a:p>
                    <a:p>
                      <a:r>
                        <a:rPr lang="en-US" sz="1100" b="1" dirty="0" smtClean="0"/>
                        <a:t>Data Consistency</a:t>
                      </a:r>
                      <a:r>
                        <a:rPr lang="en-US" sz="1100" dirty="0" smtClean="0"/>
                        <a:t>: Ensuring that the new data source aligns with the current data models and dashboard requirements for all 12 dashboards, with a focus on maintaining data consistency and integrity.</a:t>
                      </a:r>
                    </a:p>
                    <a:p>
                      <a:r>
                        <a:rPr lang="en-US" sz="1100" b="1" dirty="0" smtClean="0"/>
                        <a:t>Performance Optimization</a:t>
                      </a:r>
                      <a:r>
                        <a:rPr lang="en-US" sz="1100" dirty="0" smtClean="0"/>
                        <a:t>: Conducting performance testing to assess the load times and responsiveness of the dashboards with the new data source in place.</a:t>
                      </a:r>
                    </a:p>
                    <a:p>
                      <a:r>
                        <a:rPr lang="en-US" sz="1100" b="1" dirty="0" smtClean="0"/>
                        <a:t>Validation &amp; Sign-Off</a:t>
                      </a:r>
                      <a:r>
                        <a:rPr lang="en-US" sz="1100" dirty="0" smtClean="0"/>
                        <a:t>: Ensuring stakeholder approval by reviewing results and confirming that the dashboards perform as expected with the new data source.</a:t>
                      </a:r>
                    </a:p>
                    <a:p>
                      <a:r>
                        <a:rPr lang="en-US" sz="1100" b="1" dirty="0" smtClean="0"/>
                        <a:t>Deployment</a:t>
                      </a:r>
                      <a:r>
                        <a:rPr lang="en-US" sz="1100" dirty="0" smtClean="0"/>
                        <a:t>: Finalizing the switch to production once the development environment testing phase is completed successfully.</a:t>
                      </a:r>
                    </a:p>
                    <a:p>
                      <a:r>
                        <a:rPr lang="en-US" sz="1100" dirty="0" smtClean="0"/>
                        <a:t>By achieving this objective, the team aims to enhance the accuracy, reliability, and efficiency of the 12 dashboards, ensuring that they are ready for use in a live environment with optimal performance.</a:t>
                      </a: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91294" y="1933027"/>
            <a:ext cx="6096000" cy="212365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b="1" dirty="0" smtClean="0"/>
              <a:t>Integrating </a:t>
            </a:r>
            <a:r>
              <a:rPr lang="en-US" sz="1100" b="1" dirty="0"/>
              <a:t>New Data Source into Dev Environ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100" b="1" dirty="0" smtClean="0"/>
              <a:t> </a:t>
            </a:r>
            <a:r>
              <a:rPr lang="en-US" sz="1100" b="1" dirty="0"/>
              <a:t>1</a:t>
            </a:r>
            <a:r>
              <a:rPr lang="en-US" sz="1100" dirty="0"/>
              <a:t>: Data mapping and extraction from the new data sourc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100" b="1" dirty="0" smtClean="0"/>
              <a:t>2</a:t>
            </a:r>
            <a:r>
              <a:rPr lang="en-US" sz="1100" dirty="0"/>
              <a:t>: Update dashboard queries and data model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100" b="1" dirty="0" smtClean="0"/>
              <a:t>3</a:t>
            </a:r>
            <a:r>
              <a:rPr lang="en-US" sz="1100" dirty="0"/>
              <a:t>: Test data population and integration into dashboar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100" b="1" dirty="0" smtClean="0"/>
              <a:t>4</a:t>
            </a:r>
            <a:r>
              <a:rPr lang="en-US" sz="1100" dirty="0"/>
              <a:t>: Validate data accuracy with sample test cases</a:t>
            </a:r>
            <a:r>
              <a:rPr lang="en-US" sz="1100" dirty="0" smtClean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100" dirty="0"/>
          </a:p>
          <a:p>
            <a:r>
              <a:rPr lang="en-US" sz="1100" b="1" dirty="0"/>
              <a:t>Key Considerations for Switching Dashboards to Dev Environment</a:t>
            </a:r>
          </a:p>
          <a:p>
            <a:r>
              <a:rPr lang="en-US" sz="1100" b="1" dirty="0"/>
              <a:t>Data Validation</a:t>
            </a:r>
            <a:r>
              <a:rPr lang="en-US" sz="1100" dirty="0"/>
              <a:t>: Ensure the new data source matches expected formats and values.</a:t>
            </a:r>
          </a:p>
          <a:p>
            <a:r>
              <a:rPr lang="en-US" sz="1100" b="1" dirty="0"/>
              <a:t>Performance Testing</a:t>
            </a:r>
            <a:r>
              <a:rPr lang="en-US" sz="1100" dirty="0"/>
              <a:t>: Check for speed and responsiveness with the new data source.</a:t>
            </a:r>
          </a:p>
          <a:p>
            <a:r>
              <a:rPr lang="en-US" sz="1100" b="1" dirty="0"/>
              <a:t>System Checks</a:t>
            </a:r>
            <a:r>
              <a:rPr lang="en-US" sz="1100" dirty="0"/>
              <a:t>: Verify that the new data source does not interfere with existing data flows or system operations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100" dirty="0"/>
          </a:p>
        </p:txBody>
      </p:sp>
      <p:sp>
        <p:nvSpPr>
          <p:cNvPr id="28" name="Rectangle 27"/>
          <p:cNvSpPr/>
          <p:nvPr/>
        </p:nvSpPr>
        <p:spPr bwMode="auto">
          <a:xfrm>
            <a:off x="7982006" y="1199704"/>
            <a:ext cx="4119418" cy="365955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</a:t>
            </a:r>
            <a:endParaRPr lang="en-US" sz="11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638149"/>
              </p:ext>
            </p:extLst>
          </p:nvPr>
        </p:nvGraphicFramePr>
        <p:xfrm>
          <a:off x="16242" y="4720648"/>
          <a:ext cx="7753928" cy="17391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31892">
                  <a:extLst>
                    <a:ext uri="{9D8B030D-6E8A-4147-A177-3AD203B41FA5}">
                      <a16:colId xmlns:a16="http://schemas.microsoft.com/office/drawing/2014/main" val="3319198416"/>
                    </a:ext>
                  </a:extLst>
                </a:gridCol>
                <a:gridCol w="649544">
                  <a:extLst>
                    <a:ext uri="{9D8B030D-6E8A-4147-A177-3AD203B41FA5}">
                      <a16:colId xmlns:a16="http://schemas.microsoft.com/office/drawing/2014/main" val="1842164047"/>
                    </a:ext>
                  </a:extLst>
                </a:gridCol>
                <a:gridCol w="649544">
                  <a:extLst>
                    <a:ext uri="{9D8B030D-6E8A-4147-A177-3AD203B41FA5}">
                      <a16:colId xmlns:a16="http://schemas.microsoft.com/office/drawing/2014/main" val="1791226982"/>
                    </a:ext>
                  </a:extLst>
                </a:gridCol>
                <a:gridCol w="974316">
                  <a:extLst>
                    <a:ext uri="{9D8B030D-6E8A-4147-A177-3AD203B41FA5}">
                      <a16:colId xmlns:a16="http://schemas.microsoft.com/office/drawing/2014/main" val="2704588215"/>
                    </a:ext>
                  </a:extLst>
                </a:gridCol>
                <a:gridCol w="974316">
                  <a:extLst>
                    <a:ext uri="{9D8B030D-6E8A-4147-A177-3AD203B41FA5}">
                      <a16:colId xmlns:a16="http://schemas.microsoft.com/office/drawing/2014/main" val="746291927"/>
                    </a:ext>
                  </a:extLst>
                </a:gridCol>
                <a:gridCol w="974316">
                  <a:extLst>
                    <a:ext uri="{9D8B030D-6E8A-4147-A177-3AD203B41FA5}">
                      <a16:colId xmlns:a16="http://schemas.microsoft.com/office/drawing/2014/main" val="3876922660"/>
                    </a:ext>
                  </a:extLst>
                </a:gridCol>
              </a:tblGrid>
              <a:tr h="99443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u="none" strike="noStrike" dirty="0">
                          <a:effectLst/>
                        </a:rPr>
                        <a:t>Issues With Data Source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50" b="1" u="none" strike="noStrike" dirty="0">
                          <a:effectLst/>
                        </a:rPr>
                        <a:t>Description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extLst>
                  <a:ext uri="{0D108BD9-81ED-4DB2-BD59-A6C34878D82A}">
                    <a16:rowId xmlns:a16="http://schemas.microsoft.com/office/drawing/2014/main" val="4122327725"/>
                  </a:ext>
                </a:extLst>
              </a:tr>
              <a:tr h="994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u="none" strike="noStrike">
                          <a:effectLst/>
                        </a:rPr>
                        <a:t>DS issue with DS order funnel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39" marR="4939" marT="4939" marB="0" anchor="ctr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>
                          <a:effectLst/>
                        </a:rPr>
                        <a:t>Data sorce data need to be present in athena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4282078"/>
                  </a:ext>
                </a:extLst>
              </a:tr>
              <a:tr h="994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u="none" strike="noStrike">
                          <a:effectLst/>
                        </a:rPr>
                        <a:t>DS fore cast,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39" marR="4939" marT="4939" marB="0" anchor="ctr"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>
                          <a:effectLst/>
                        </a:rPr>
                        <a:t>Accuracy of data is needed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extLst>
                  <a:ext uri="{0D108BD9-81ED-4DB2-BD59-A6C34878D82A}">
                    <a16:rowId xmlns:a16="http://schemas.microsoft.com/office/drawing/2014/main" val="3513887630"/>
                  </a:ext>
                </a:extLst>
              </a:tr>
              <a:tr h="24547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u="none" strike="noStrike">
                          <a:effectLst/>
                        </a:rPr>
                        <a:t>DS Alerts,) ,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39" marR="4939" marT="4939" marB="0" anchor="ctr"/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>
                          <a:effectLst/>
                        </a:rPr>
                        <a:t>Recent data Need to be present.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extLst>
                  <a:ext uri="{0D108BD9-81ED-4DB2-BD59-A6C34878D82A}">
                    <a16:rowId xmlns:a16="http://schemas.microsoft.com/office/drawing/2014/main" val="2657478817"/>
                  </a:ext>
                </a:extLst>
              </a:tr>
              <a:tr h="3758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u="none" strike="noStrike" dirty="0">
                          <a:effectLst/>
                        </a:rPr>
                        <a:t>CB Chat Sessions (Marketing, DS CB </a:t>
                      </a:r>
                      <a:r>
                        <a:rPr lang="en-US" sz="1050" b="0" u="none" strike="noStrike" dirty="0" err="1">
                          <a:effectLst/>
                        </a:rPr>
                        <a:t>Mktg</a:t>
                      </a:r>
                      <a:r>
                        <a:rPr lang="en-US" sz="1050" b="0" u="none" strike="noStrike" dirty="0">
                          <a:effectLst/>
                        </a:rPr>
                        <a:t> Channel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extLst>
                  <a:ext uri="{0D108BD9-81ED-4DB2-BD59-A6C34878D82A}">
                    <a16:rowId xmlns:a16="http://schemas.microsoft.com/office/drawing/2014/main" val="2786661963"/>
                  </a:ext>
                </a:extLst>
              </a:tr>
              <a:tr h="3758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u="none" strike="noStrike">
                          <a:effectLst/>
                        </a:rPr>
                        <a:t>CB Marketing Source - call metr, DS CB Campaigns, SFO - Sales Order Detail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extLst>
                  <a:ext uri="{0D108BD9-81ED-4DB2-BD59-A6C34878D82A}">
                    <a16:rowId xmlns:a16="http://schemas.microsoft.com/office/drawing/2014/main" val="3951114990"/>
                  </a:ext>
                </a:extLst>
              </a:tr>
              <a:tr h="24700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u="none" strike="noStrike">
                          <a:effectLst/>
                        </a:rPr>
                        <a:t>CBForce Leads, DS CB Buyflow, DS CB Page Type | Project : Coll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9" marR="4939" marT="4939" marB="0" anchor="b"/>
                </a:tc>
                <a:extLst>
                  <a:ext uri="{0D108BD9-81ED-4DB2-BD59-A6C34878D82A}">
                    <a16:rowId xmlns:a16="http://schemas.microsoft.com/office/drawing/2014/main" val="34021693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0402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2778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6262C325E63C4996D03021E06489BC" ma:contentTypeVersion="11" ma:contentTypeDescription="Create a new document." ma:contentTypeScope="" ma:versionID="e3e202fb0db87ec119a9013ce38f22ea">
  <xsd:schema xmlns:xsd="http://www.w3.org/2001/XMLSchema" xmlns:xs="http://www.w3.org/2001/XMLSchema" xmlns:p="http://schemas.microsoft.com/office/2006/metadata/properties" xmlns:ns2="80b69f1d-ead9-4f3d-aa02-a5292de2edf1" xmlns:ns3="6b02dde0-9120-4d29-843e-f6bda0c0a5d5" targetNamespace="http://schemas.microsoft.com/office/2006/metadata/properties" ma:root="true" ma:fieldsID="89b7384d0103bd788a0a0e93e1913e24" ns2:_="" ns3:_="">
    <xsd:import namespace="80b69f1d-ead9-4f3d-aa02-a5292de2edf1"/>
    <xsd:import namespace="6b02dde0-9120-4d29-843e-f6bda0c0a5d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b69f1d-ead9-4f3d-aa02-a5292de2e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1b9a2b0-d64c-4e95-80ab-8818a25a5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02dde0-9120-4d29-843e-f6bda0c0a5d5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23c0f1cb-7a1d-42db-989d-7c95dd2aea34}" ma:internalName="TaxCatchAll" ma:showField="CatchAllData" ma:web="6b02dde0-9120-4d29-843e-f6bda0c0a5d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0b69f1d-ead9-4f3d-aa02-a5292de2edf1">
      <Terms xmlns="http://schemas.microsoft.com/office/infopath/2007/PartnerControls"/>
    </lcf76f155ced4ddcb4097134ff3c332f>
    <TaxCatchAll xmlns="6b02dde0-9120-4d29-843e-f6bda0c0a5d5" xsi:nil="true"/>
  </documentManagement>
</p:properties>
</file>

<file path=customXml/itemProps1.xml><?xml version="1.0" encoding="utf-8"?>
<ds:datastoreItem xmlns:ds="http://schemas.openxmlformats.org/officeDocument/2006/customXml" ds:itemID="{C3C4EEA6-4AC2-43D9-BAD3-2815A4EC7F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0b69f1d-ead9-4f3d-aa02-a5292de2edf1"/>
    <ds:schemaRef ds:uri="6b02dde0-9120-4d29-843e-f6bda0c0a5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BC13AF2-E39A-4FD2-B967-9FAE27A81BE6}">
  <ds:schemaRefs>
    <ds:schemaRef ds:uri="6b02dde0-9120-4d29-843e-f6bda0c0a5d5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2006/metadata/properties"/>
    <ds:schemaRef ds:uri="80b69f1d-ead9-4f3d-aa02-a5292de2edf1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7</TotalTime>
  <Words>1283</Words>
  <Application>Microsoft Office PowerPoint</Application>
  <PresentationFormat>Widescreen</PresentationFormat>
  <Paragraphs>227</Paragraphs>
  <Slides>6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ptos</vt:lpstr>
      <vt:lpstr>Arial</vt:lpstr>
      <vt:lpstr>Calibri</vt:lpstr>
      <vt:lpstr>Calibri Light</vt:lpstr>
      <vt:lpstr>Proxima Nova</vt:lpstr>
      <vt:lpstr>Proxima Nova Black</vt:lpstr>
      <vt:lpstr>Proxima Nova Light</vt:lpstr>
      <vt:lpstr>Segoe UI</vt:lpstr>
      <vt:lpstr>Times New Roman</vt:lpstr>
      <vt:lpstr>Cox Communications 2019 Template (16x9)</vt:lpstr>
      <vt:lpstr>2_Cox Communications 2019 Template (16x9)</vt:lpstr>
      <vt:lpstr>think-cell Slide</vt:lpstr>
      <vt:lpstr>Tableau UAT Project Updates</vt:lpstr>
      <vt:lpstr>Tableau UAT Project Milestones Status – 05th December 2024 </vt:lpstr>
      <vt:lpstr>Data Dependencies and Identified Issues Status – 05th December 2024 </vt:lpstr>
      <vt:lpstr>UAT 12 Dashboard Status December 5, 2024 </vt:lpstr>
      <vt:lpstr>Tableau UAT Project Statu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Harvinder Singh59</cp:lastModifiedBy>
  <cp:revision>154</cp:revision>
  <cp:lastPrinted>2023-03-15T15:20:58Z</cp:lastPrinted>
  <dcterms:created xsi:type="dcterms:W3CDTF">2016-12-14T14:35:04Z</dcterms:created>
  <dcterms:modified xsi:type="dcterms:W3CDTF">2024-12-05T16:2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6262C325E63C4996D03021E06489BC</vt:lpwstr>
  </property>
</Properties>
</file>